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  <p:sldMasterId id="2147483704" r:id="rId3"/>
    <p:sldMasterId id="2147483725" r:id="rId4"/>
    <p:sldMasterId id="2147483746" r:id="rId5"/>
  </p:sldMasterIdLst>
  <p:notesMasterIdLst>
    <p:notesMasterId r:id="rId14"/>
  </p:notesMasterIdLst>
  <p:sldIdLst>
    <p:sldId id="276" r:id="rId6"/>
    <p:sldId id="2142532464" r:id="rId7"/>
    <p:sldId id="2142532510" r:id="rId8"/>
    <p:sldId id="2142532512" r:id="rId9"/>
    <p:sldId id="2142532514" r:id="rId10"/>
    <p:sldId id="2142532515" r:id="rId11"/>
    <p:sldId id="2142532516" r:id="rId12"/>
    <p:sldId id="2142532511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stiyaque Ahmad" initials="IA" lastIdx="1" clrIdx="0">
    <p:extLst>
      <p:ext uri="{19B8F6BF-5375-455C-9EA6-DF929625EA0E}">
        <p15:presenceInfo xmlns:p15="http://schemas.microsoft.com/office/powerpoint/2012/main" userId="S::istiyaque.ahmad@cemex.com::51a76bdf-825b-4d69-9403-198c4e7abd7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68" autoAdjust="0"/>
    <p:restoredTop sz="94249" autoAdjust="0"/>
  </p:normalViewPr>
  <p:slideViewPr>
    <p:cSldViewPr snapToGrid="0">
      <p:cViewPr varScale="1">
        <p:scale>
          <a:sx n="63" d="100"/>
          <a:sy n="63" d="100"/>
        </p:scale>
        <p:origin x="78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40D9BD-FFB8-4A00-A06A-FD13A0FDAE93}" type="datetimeFigureOut">
              <a:rPr lang="en-US" smtClean="0"/>
              <a:t>12/1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494787-A540-4BF4-A9F5-FED1994E3D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9505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15000"/>
              </a:lnSpc>
              <a:buFont typeface="Arial" charset="0"/>
              <a:buNone/>
            </a:pPr>
            <a:endParaRPr lang="en-US" dirty="0">
              <a:effectLst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7C5A10-8CB3-9140-A458-3301A4957CEB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2018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15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15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15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15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15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15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15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6" Type="http://schemas.openxmlformats.org/officeDocument/2006/relationships/image" Target="../media/image15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6" Type="http://schemas.openxmlformats.org/officeDocument/2006/relationships/image" Target="../media/image15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6" Type="http://schemas.openxmlformats.org/officeDocument/2006/relationships/image" Target="../media/image15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6" Type="http://schemas.openxmlformats.org/officeDocument/2006/relationships/image" Target="../media/image15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6" Type="http://schemas.openxmlformats.org/officeDocument/2006/relationships/image" Target="../media/image15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6" Type="http://schemas.openxmlformats.org/officeDocument/2006/relationships/image" Target="../media/image15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6" Type="http://schemas.openxmlformats.org/officeDocument/2006/relationships/image" Target="../media/image15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6" Type="http://schemas.openxmlformats.org/officeDocument/2006/relationships/image" Target="../media/image15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6" Type="http://schemas.openxmlformats.org/officeDocument/2006/relationships/image" Target="../media/image15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6" Type="http://schemas.openxmlformats.org/officeDocument/2006/relationships/image" Target="../media/image15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6" Type="http://schemas.openxmlformats.org/officeDocument/2006/relationships/image" Target="../media/image15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6" Type="http://schemas.openxmlformats.org/officeDocument/2006/relationships/image" Target="../media/image15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6" Type="http://schemas.openxmlformats.org/officeDocument/2006/relationships/image" Target="../media/image15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6" Type="http://schemas.openxmlformats.org/officeDocument/2006/relationships/image" Target="../media/image15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Relationship Id="rId6" Type="http://schemas.openxmlformats.org/officeDocument/2006/relationships/image" Target="../media/image17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Relationship Id="rId6" Type="http://schemas.openxmlformats.org/officeDocument/2006/relationships/image" Target="../media/image17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Relationship Id="rId6" Type="http://schemas.openxmlformats.org/officeDocument/2006/relationships/image" Target="../media/image17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Relationship Id="rId6" Type="http://schemas.openxmlformats.org/officeDocument/2006/relationships/image" Target="../media/image17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Relationship Id="rId6" Type="http://schemas.openxmlformats.org/officeDocument/2006/relationships/image" Target="../media/image17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Relationship Id="rId6" Type="http://schemas.openxmlformats.org/officeDocument/2006/relationships/image" Target="../media/image17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6" Type="http://schemas.openxmlformats.org/officeDocument/2006/relationships/image" Target="../media/image17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&amp;I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65CA43-C0C9-42C2-BC91-76AA65391F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41679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365CA43-C0C9-42C2-BC91-76AA65391F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09FA73B6-0292-4B75-9D69-B1B5738C4C3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4204380-ACF8-4A7D-8A72-178AA473ACE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76B7AE8-D148-491C-A29F-1445E288E10B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6ABDFE8-296B-4562-B0A8-465BEE91338F}"/>
              </a:ext>
            </a:extLst>
          </p:cNvPr>
          <p:cNvSpPr/>
          <p:nvPr/>
        </p:nvSpPr>
        <p:spPr>
          <a:xfrm>
            <a:off x="10634786" y="3027963"/>
            <a:ext cx="1558642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Heydar </a:t>
            </a:r>
            <a:r>
              <a:rPr lang="en-US" sz="600" kern="1200" baseline="0" noProof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Aliyev 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Center, 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Tahoma" charset="0"/>
                <a:cs typeface="Tahoma" charset="0"/>
              </a:rPr>
              <a:t>Azerbaijan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 </a:t>
            </a:r>
            <a:endParaRPr lang="en-GB" sz="600" kern="120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Process &amp; IT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B6FFD06-96A7-47B8-BA64-E7E17C64205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D12542F-8C4D-4EC4-B453-168CF7D1F23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5598112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40000"/>
            <a:ext cx="5331600" cy="4752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385200" y="1965600"/>
            <a:ext cx="5331600" cy="40536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ontent (Graph, Table, Image, etc.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505200" y="1440000"/>
            <a:ext cx="5278812" cy="45936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225316751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0525" y="208405"/>
            <a:ext cx="11358563" cy="1033946"/>
          </a:xfrm>
        </p:spPr>
        <p:txBody>
          <a:bodyPr>
            <a:normAutofit/>
          </a:bodyPr>
          <a:lstStyle>
            <a:lvl1pPr>
              <a:defRPr sz="2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(Century Gothic 24, dark blue – bold)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3307106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FCD1B7-C668-4879-90EB-FC4C553E26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EFBFCA-DA83-4FA6-98AB-1D24887BFF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7634719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B47C7CF-7EE9-49F2-BA57-4EB1921F78D0}"/>
              </a:ext>
            </a:extLst>
          </p:cNvPr>
          <p:cNvSpPr/>
          <p:nvPr userDrawn="1"/>
        </p:nvSpPr>
        <p:spPr>
          <a:xfrm>
            <a:off x="380999" y="2436243"/>
            <a:ext cx="2021712" cy="4084484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EF2F06A8-1B90-485E-BD56-F3347AAA8785}"/>
              </a:ext>
            </a:extLst>
          </p:cNvPr>
          <p:cNvSpPr/>
          <p:nvPr userDrawn="1"/>
        </p:nvSpPr>
        <p:spPr>
          <a:xfrm>
            <a:off x="371435" y="1749906"/>
            <a:ext cx="2029539" cy="738665"/>
          </a:xfrm>
          <a:prstGeom prst="round2SameRect">
            <a:avLst>
              <a:gd name="adj1" fmla="val 18889"/>
              <a:gd name="adj2" fmla="val 0"/>
            </a:avLst>
          </a:prstGeom>
          <a:solidFill>
            <a:srgbClr val="167E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6845F4C-F433-45C4-B235-4F7C9DE2266E}"/>
              </a:ext>
            </a:extLst>
          </p:cNvPr>
          <p:cNvSpPr/>
          <p:nvPr userDrawn="1"/>
        </p:nvSpPr>
        <p:spPr>
          <a:xfrm>
            <a:off x="4678156" y="2436243"/>
            <a:ext cx="4267360" cy="4084484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C8278D1-CAC9-4D28-B374-3FA61A3727C1}"/>
              </a:ext>
            </a:extLst>
          </p:cNvPr>
          <p:cNvSpPr/>
          <p:nvPr userDrawn="1"/>
        </p:nvSpPr>
        <p:spPr>
          <a:xfrm>
            <a:off x="2413434" y="2436243"/>
            <a:ext cx="2257984" cy="4084484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B2B0377-4AB0-4DE5-8B26-B5257FAFC4DA}"/>
              </a:ext>
            </a:extLst>
          </p:cNvPr>
          <p:cNvCxnSpPr>
            <a:cxnSpLocks/>
          </p:cNvCxnSpPr>
          <p:nvPr userDrawn="1"/>
        </p:nvCxnSpPr>
        <p:spPr>
          <a:xfrm>
            <a:off x="420422" y="3774007"/>
            <a:ext cx="209333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406AFB-1F86-4585-9CDC-9AFBBB46A6AA}"/>
              </a:ext>
            </a:extLst>
          </p:cNvPr>
          <p:cNvCxnSpPr>
            <a:cxnSpLocks/>
          </p:cNvCxnSpPr>
          <p:nvPr userDrawn="1"/>
        </p:nvCxnSpPr>
        <p:spPr>
          <a:xfrm>
            <a:off x="420422" y="5089471"/>
            <a:ext cx="209333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C83BF2A-4094-4E6A-B386-72103C4856A4}"/>
              </a:ext>
            </a:extLst>
          </p:cNvPr>
          <p:cNvCxnSpPr/>
          <p:nvPr userDrawn="1"/>
        </p:nvCxnSpPr>
        <p:spPr>
          <a:xfrm>
            <a:off x="2436527" y="3774007"/>
            <a:ext cx="217218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8D17856-0FC5-4E96-8599-5683E929F2AD}"/>
              </a:ext>
            </a:extLst>
          </p:cNvPr>
          <p:cNvCxnSpPr/>
          <p:nvPr userDrawn="1"/>
        </p:nvCxnSpPr>
        <p:spPr>
          <a:xfrm>
            <a:off x="2436527" y="5089471"/>
            <a:ext cx="217218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aphic 122">
            <a:extLst>
              <a:ext uri="{FF2B5EF4-FFF2-40B4-BE49-F238E27FC236}">
                <a16:creationId xmlns:a16="http://schemas.microsoft.com/office/drawing/2014/main" id="{9923FE5C-C860-468B-A597-127E2EE05217}"/>
              </a:ext>
            </a:extLst>
          </p:cNvPr>
          <p:cNvGrpSpPr/>
          <p:nvPr userDrawn="1"/>
        </p:nvGrpSpPr>
        <p:grpSpPr>
          <a:xfrm>
            <a:off x="1763306" y="1900901"/>
            <a:ext cx="428625" cy="428625"/>
            <a:chOff x="1921219" y="2372415"/>
            <a:chExt cx="428625" cy="428625"/>
          </a:xfrm>
          <a:solidFill>
            <a:schemeClr val="bg1"/>
          </a:solidFill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5334489-250B-47FB-BCE4-7E8380DF0320}"/>
                </a:ext>
              </a:extLst>
            </p:cNvPr>
            <p:cNvSpPr/>
            <p:nvPr/>
          </p:nvSpPr>
          <p:spPr>
            <a:xfrm>
              <a:off x="1964558" y="2372415"/>
              <a:ext cx="381000" cy="38100"/>
            </a:xfrm>
            <a:custGeom>
              <a:avLst/>
              <a:gdLst>
                <a:gd name="connsiteX0" fmla="*/ 0 w 381000"/>
                <a:gd name="connsiteY0" fmla="*/ 0 h 38100"/>
                <a:gd name="connsiteX1" fmla="*/ 389668 w 381000"/>
                <a:gd name="connsiteY1" fmla="*/ 0 h 38100"/>
                <a:gd name="connsiteX2" fmla="*/ 389668 w 381000"/>
                <a:gd name="connsiteY2" fmla="*/ 43339 h 38100"/>
                <a:gd name="connsiteX3" fmla="*/ 0 w 381000"/>
                <a:gd name="connsiteY3" fmla="*/ 43339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0" h="38100">
                  <a:moveTo>
                    <a:pt x="0" y="0"/>
                  </a:moveTo>
                  <a:lnTo>
                    <a:pt x="389668" y="0"/>
                  </a:lnTo>
                  <a:lnTo>
                    <a:pt x="389668" y="43339"/>
                  </a:lnTo>
                  <a:lnTo>
                    <a:pt x="0" y="43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9B0C8D9-4895-44A7-A14D-A44719009F7D}"/>
                </a:ext>
              </a:extLst>
            </p:cNvPr>
            <p:cNvSpPr/>
            <p:nvPr/>
          </p:nvSpPr>
          <p:spPr>
            <a:xfrm>
              <a:off x="1921219" y="2762083"/>
              <a:ext cx="381000" cy="38100"/>
            </a:xfrm>
            <a:custGeom>
              <a:avLst/>
              <a:gdLst>
                <a:gd name="connsiteX0" fmla="*/ 0 w 381000"/>
                <a:gd name="connsiteY0" fmla="*/ 0 h 38100"/>
                <a:gd name="connsiteX1" fmla="*/ 389668 w 381000"/>
                <a:gd name="connsiteY1" fmla="*/ 0 h 38100"/>
                <a:gd name="connsiteX2" fmla="*/ 389668 w 381000"/>
                <a:gd name="connsiteY2" fmla="*/ 43339 h 38100"/>
                <a:gd name="connsiteX3" fmla="*/ 0 w 381000"/>
                <a:gd name="connsiteY3" fmla="*/ 43339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0" h="38100">
                  <a:moveTo>
                    <a:pt x="0" y="0"/>
                  </a:moveTo>
                  <a:lnTo>
                    <a:pt x="389668" y="0"/>
                  </a:lnTo>
                  <a:lnTo>
                    <a:pt x="389668" y="43339"/>
                  </a:lnTo>
                  <a:lnTo>
                    <a:pt x="0" y="433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77A47CA-DF6D-4AAC-B81E-6633BB5CDA7E}"/>
                </a:ext>
              </a:extLst>
            </p:cNvPr>
            <p:cNvSpPr/>
            <p:nvPr/>
          </p:nvSpPr>
          <p:spPr>
            <a:xfrm>
              <a:off x="1921219" y="2372415"/>
              <a:ext cx="428625" cy="428625"/>
            </a:xfrm>
            <a:custGeom>
              <a:avLst/>
              <a:gdLst>
                <a:gd name="connsiteX0" fmla="*/ 43339 w 428625"/>
                <a:gd name="connsiteY0" fmla="*/ 129921 h 428625"/>
                <a:gd name="connsiteX1" fmla="*/ 43339 w 428625"/>
                <a:gd name="connsiteY1" fmla="*/ 0 h 428625"/>
                <a:gd name="connsiteX2" fmla="*/ 0 w 428625"/>
                <a:gd name="connsiteY2" fmla="*/ 43339 h 428625"/>
                <a:gd name="connsiteX3" fmla="*/ 0 w 428625"/>
                <a:gd name="connsiteY3" fmla="*/ 303086 h 428625"/>
                <a:gd name="connsiteX4" fmla="*/ 389668 w 428625"/>
                <a:gd name="connsiteY4" fmla="*/ 303086 h 428625"/>
                <a:gd name="connsiteX5" fmla="*/ 389668 w 428625"/>
                <a:gd name="connsiteY5" fmla="*/ 433007 h 428625"/>
                <a:gd name="connsiteX6" fmla="*/ 433007 w 428625"/>
                <a:gd name="connsiteY6" fmla="*/ 389668 h 428625"/>
                <a:gd name="connsiteX7" fmla="*/ 433007 w 428625"/>
                <a:gd name="connsiteY7" fmla="*/ 129921 h 428625"/>
                <a:gd name="connsiteX8" fmla="*/ 43339 w 428625"/>
                <a:gd name="connsiteY8" fmla="*/ 129921 h 428625"/>
                <a:gd name="connsiteX9" fmla="*/ 389668 w 428625"/>
                <a:gd name="connsiteY9" fmla="*/ 259842 h 428625"/>
                <a:gd name="connsiteX10" fmla="*/ 43339 w 428625"/>
                <a:gd name="connsiteY10" fmla="*/ 259842 h 428625"/>
                <a:gd name="connsiteX11" fmla="*/ 43339 w 428625"/>
                <a:gd name="connsiteY11" fmla="*/ 173260 h 428625"/>
                <a:gd name="connsiteX12" fmla="*/ 389668 w 428625"/>
                <a:gd name="connsiteY12" fmla="*/ 173260 h 428625"/>
                <a:gd name="connsiteX13" fmla="*/ 389668 w 428625"/>
                <a:gd name="connsiteY13" fmla="*/ 259842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8625" h="428625">
                  <a:moveTo>
                    <a:pt x="43339" y="129921"/>
                  </a:moveTo>
                  <a:lnTo>
                    <a:pt x="43339" y="0"/>
                  </a:lnTo>
                  <a:lnTo>
                    <a:pt x="0" y="43339"/>
                  </a:lnTo>
                  <a:lnTo>
                    <a:pt x="0" y="303086"/>
                  </a:lnTo>
                  <a:lnTo>
                    <a:pt x="389668" y="303086"/>
                  </a:lnTo>
                  <a:lnTo>
                    <a:pt x="389668" y="433007"/>
                  </a:lnTo>
                  <a:lnTo>
                    <a:pt x="433007" y="389668"/>
                  </a:lnTo>
                  <a:lnTo>
                    <a:pt x="433007" y="129921"/>
                  </a:lnTo>
                  <a:lnTo>
                    <a:pt x="43339" y="129921"/>
                  </a:lnTo>
                  <a:close/>
                  <a:moveTo>
                    <a:pt x="389668" y="259842"/>
                  </a:moveTo>
                  <a:lnTo>
                    <a:pt x="43339" y="259842"/>
                  </a:lnTo>
                  <a:lnTo>
                    <a:pt x="43339" y="173260"/>
                  </a:lnTo>
                  <a:lnTo>
                    <a:pt x="389668" y="173260"/>
                  </a:lnTo>
                  <a:lnTo>
                    <a:pt x="389668" y="2598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325D4FA-225C-493C-BFB7-C82E524C608C}"/>
                </a:ext>
              </a:extLst>
            </p:cNvPr>
            <p:cNvSpPr/>
            <p:nvPr/>
          </p:nvSpPr>
          <p:spPr>
            <a:xfrm>
              <a:off x="1986179" y="2437375"/>
              <a:ext cx="38100" cy="38100"/>
            </a:xfrm>
            <a:custGeom>
              <a:avLst/>
              <a:gdLst>
                <a:gd name="connsiteX0" fmla="*/ 43244 w 38100"/>
                <a:gd name="connsiteY0" fmla="*/ 21622 h 38100"/>
                <a:gd name="connsiteX1" fmla="*/ 21622 w 38100"/>
                <a:gd name="connsiteY1" fmla="*/ 43244 h 38100"/>
                <a:gd name="connsiteX2" fmla="*/ 0 w 38100"/>
                <a:gd name="connsiteY2" fmla="*/ 21622 h 38100"/>
                <a:gd name="connsiteX3" fmla="*/ 21622 w 38100"/>
                <a:gd name="connsiteY3" fmla="*/ 0 h 38100"/>
                <a:gd name="connsiteX4" fmla="*/ 43244 w 38100"/>
                <a:gd name="connsiteY4" fmla="*/ 2162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43244" y="21622"/>
                  </a:moveTo>
                  <a:cubicBezTo>
                    <a:pt x="43244" y="33563"/>
                    <a:pt x="33563" y="43244"/>
                    <a:pt x="21622" y="43244"/>
                  </a:cubicBezTo>
                  <a:cubicBezTo>
                    <a:pt x="9680" y="43244"/>
                    <a:pt x="0" y="33563"/>
                    <a:pt x="0" y="21622"/>
                  </a:cubicBezTo>
                  <a:cubicBezTo>
                    <a:pt x="0" y="9680"/>
                    <a:pt x="9680" y="0"/>
                    <a:pt x="21622" y="0"/>
                  </a:cubicBezTo>
                  <a:cubicBezTo>
                    <a:pt x="33563" y="0"/>
                    <a:pt x="43244" y="9680"/>
                    <a:pt x="43244" y="2162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2CD3E0B-FE1E-4D0E-9CDA-3E74CDBB306B}"/>
                </a:ext>
              </a:extLst>
            </p:cNvPr>
            <p:cNvSpPr/>
            <p:nvPr/>
          </p:nvSpPr>
          <p:spPr>
            <a:xfrm>
              <a:off x="1986179" y="2567296"/>
              <a:ext cx="38100" cy="38100"/>
            </a:xfrm>
            <a:custGeom>
              <a:avLst/>
              <a:gdLst>
                <a:gd name="connsiteX0" fmla="*/ 43244 w 38100"/>
                <a:gd name="connsiteY0" fmla="*/ 21622 h 38100"/>
                <a:gd name="connsiteX1" fmla="*/ 21622 w 38100"/>
                <a:gd name="connsiteY1" fmla="*/ 43244 h 38100"/>
                <a:gd name="connsiteX2" fmla="*/ 0 w 38100"/>
                <a:gd name="connsiteY2" fmla="*/ 21622 h 38100"/>
                <a:gd name="connsiteX3" fmla="*/ 21622 w 38100"/>
                <a:gd name="connsiteY3" fmla="*/ 0 h 38100"/>
                <a:gd name="connsiteX4" fmla="*/ 43244 w 38100"/>
                <a:gd name="connsiteY4" fmla="*/ 2162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43244" y="21622"/>
                  </a:moveTo>
                  <a:cubicBezTo>
                    <a:pt x="43244" y="33563"/>
                    <a:pt x="33563" y="43244"/>
                    <a:pt x="21622" y="43244"/>
                  </a:cubicBezTo>
                  <a:cubicBezTo>
                    <a:pt x="9680" y="43244"/>
                    <a:pt x="0" y="33563"/>
                    <a:pt x="0" y="21622"/>
                  </a:cubicBezTo>
                  <a:cubicBezTo>
                    <a:pt x="0" y="9680"/>
                    <a:pt x="9680" y="0"/>
                    <a:pt x="21622" y="0"/>
                  </a:cubicBezTo>
                  <a:cubicBezTo>
                    <a:pt x="33563" y="0"/>
                    <a:pt x="43244" y="9680"/>
                    <a:pt x="43244" y="2162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4B34A65-631A-4DA0-8FDD-8E4C9C89A9D1}"/>
                </a:ext>
              </a:extLst>
            </p:cNvPr>
            <p:cNvSpPr/>
            <p:nvPr/>
          </p:nvSpPr>
          <p:spPr>
            <a:xfrm>
              <a:off x="1986179" y="2697217"/>
              <a:ext cx="38100" cy="38100"/>
            </a:xfrm>
            <a:custGeom>
              <a:avLst/>
              <a:gdLst>
                <a:gd name="connsiteX0" fmla="*/ 43244 w 38100"/>
                <a:gd name="connsiteY0" fmla="*/ 21622 h 38100"/>
                <a:gd name="connsiteX1" fmla="*/ 21622 w 38100"/>
                <a:gd name="connsiteY1" fmla="*/ 43244 h 38100"/>
                <a:gd name="connsiteX2" fmla="*/ 0 w 38100"/>
                <a:gd name="connsiteY2" fmla="*/ 21622 h 38100"/>
                <a:gd name="connsiteX3" fmla="*/ 21622 w 38100"/>
                <a:gd name="connsiteY3" fmla="*/ 0 h 38100"/>
                <a:gd name="connsiteX4" fmla="*/ 43244 w 38100"/>
                <a:gd name="connsiteY4" fmla="*/ 2162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43244" y="21622"/>
                  </a:moveTo>
                  <a:cubicBezTo>
                    <a:pt x="43244" y="33563"/>
                    <a:pt x="33563" y="43244"/>
                    <a:pt x="21622" y="43244"/>
                  </a:cubicBezTo>
                  <a:cubicBezTo>
                    <a:pt x="9680" y="43244"/>
                    <a:pt x="0" y="33563"/>
                    <a:pt x="0" y="21622"/>
                  </a:cubicBezTo>
                  <a:cubicBezTo>
                    <a:pt x="0" y="9680"/>
                    <a:pt x="9680" y="0"/>
                    <a:pt x="21622" y="0"/>
                  </a:cubicBezTo>
                  <a:cubicBezTo>
                    <a:pt x="33563" y="0"/>
                    <a:pt x="43244" y="9680"/>
                    <a:pt x="43244" y="2162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26" name="Rectangle: Top Corners Rounded 25">
            <a:extLst>
              <a:ext uri="{FF2B5EF4-FFF2-40B4-BE49-F238E27FC236}">
                <a16:creationId xmlns:a16="http://schemas.microsoft.com/office/drawing/2014/main" id="{5BE6C523-2F9F-40D1-BB16-4F9A990CD2CA}"/>
              </a:ext>
            </a:extLst>
          </p:cNvPr>
          <p:cNvSpPr/>
          <p:nvPr userDrawn="1"/>
        </p:nvSpPr>
        <p:spPr>
          <a:xfrm>
            <a:off x="2402885" y="1749906"/>
            <a:ext cx="2275271" cy="738665"/>
          </a:xfrm>
          <a:prstGeom prst="round2SameRect">
            <a:avLst>
              <a:gd name="adj1" fmla="val 18889"/>
              <a:gd name="adj2" fmla="val 0"/>
            </a:avLst>
          </a:prstGeom>
          <a:solidFill>
            <a:srgbClr val="373A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27" name="Graphic 124">
            <a:extLst>
              <a:ext uri="{FF2B5EF4-FFF2-40B4-BE49-F238E27FC236}">
                <a16:creationId xmlns:a16="http://schemas.microsoft.com/office/drawing/2014/main" id="{C0A81DAB-F8FA-4BC7-A8F7-B2AE21A45F2B}"/>
              </a:ext>
            </a:extLst>
          </p:cNvPr>
          <p:cNvGrpSpPr/>
          <p:nvPr userDrawn="1"/>
        </p:nvGrpSpPr>
        <p:grpSpPr>
          <a:xfrm>
            <a:off x="3890164" y="1833107"/>
            <a:ext cx="504030" cy="577448"/>
            <a:chOff x="3173890" y="1657589"/>
            <a:chExt cx="354425" cy="406051"/>
          </a:xfrm>
          <a:solidFill>
            <a:schemeClr val="bg1"/>
          </a:solidFill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FB87BD6-6855-47F8-9669-B1382549DC07}"/>
                </a:ext>
              </a:extLst>
            </p:cNvPr>
            <p:cNvSpPr/>
            <p:nvPr/>
          </p:nvSpPr>
          <p:spPr>
            <a:xfrm>
              <a:off x="3233040" y="1657589"/>
              <a:ext cx="295275" cy="304800"/>
            </a:xfrm>
            <a:custGeom>
              <a:avLst/>
              <a:gdLst>
                <a:gd name="connsiteX0" fmla="*/ 21622 w 295275"/>
                <a:gd name="connsiteY0" fmla="*/ 62770 h 304800"/>
                <a:gd name="connsiteX1" fmla="*/ 21622 w 295275"/>
                <a:gd name="connsiteY1" fmla="*/ 62770 h 304800"/>
                <a:gd name="connsiteX2" fmla="*/ 0 w 295275"/>
                <a:gd name="connsiteY2" fmla="*/ 100298 h 304800"/>
                <a:gd name="connsiteX3" fmla="*/ 38957 w 295275"/>
                <a:gd name="connsiteY3" fmla="*/ 122777 h 304800"/>
                <a:gd name="connsiteX4" fmla="*/ 98774 w 295275"/>
                <a:gd name="connsiteY4" fmla="*/ 88202 h 304800"/>
                <a:gd name="connsiteX5" fmla="*/ 98774 w 295275"/>
                <a:gd name="connsiteY5" fmla="*/ 43244 h 304800"/>
                <a:gd name="connsiteX6" fmla="*/ 142018 w 295275"/>
                <a:gd name="connsiteY6" fmla="*/ 43244 h 304800"/>
                <a:gd name="connsiteX7" fmla="*/ 142018 w 295275"/>
                <a:gd name="connsiteY7" fmla="*/ 88202 h 304800"/>
                <a:gd name="connsiteX8" fmla="*/ 201835 w 295275"/>
                <a:gd name="connsiteY8" fmla="*/ 122777 h 304800"/>
                <a:gd name="connsiteX9" fmla="*/ 240792 w 295275"/>
                <a:gd name="connsiteY9" fmla="*/ 100298 h 304800"/>
                <a:gd name="connsiteX10" fmla="*/ 262414 w 295275"/>
                <a:gd name="connsiteY10" fmla="*/ 137732 h 304800"/>
                <a:gd name="connsiteX11" fmla="*/ 223552 w 295275"/>
                <a:gd name="connsiteY11" fmla="*/ 160211 h 304800"/>
                <a:gd name="connsiteX12" fmla="*/ 223552 w 295275"/>
                <a:gd name="connsiteY12" fmla="*/ 229362 h 304800"/>
                <a:gd name="connsiteX13" fmla="*/ 262414 w 295275"/>
                <a:gd name="connsiteY13" fmla="*/ 251841 h 304800"/>
                <a:gd name="connsiteX14" fmla="*/ 240792 w 295275"/>
                <a:gd name="connsiteY14" fmla="*/ 289274 h 304800"/>
                <a:gd name="connsiteX15" fmla="*/ 278321 w 295275"/>
                <a:gd name="connsiteY15" fmla="*/ 310991 h 304800"/>
                <a:gd name="connsiteX16" fmla="*/ 299942 w 295275"/>
                <a:gd name="connsiteY16" fmla="*/ 273463 h 304800"/>
                <a:gd name="connsiteX17" fmla="*/ 299942 w 295275"/>
                <a:gd name="connsiteY17" fmla="*/ 273463 h 304800"/>
                <a:gd name="connsiteX18" fmla="*/ 284131 w 295275"/>
                <a:gd name="connsiteY18" fmla="*/ 214312 h 304800"/>
                <a:gd name="connsiteX19" fmla="*/ 266795 w 295275"/>
                <a:gd name="connsiteY19" fmla="*/ 204311 h 304800"/>
                <a:gd name="connsiteX20" fmla="*/ 266795 w 295275"/>
                <a:gd name="connsiteY20" fmla="*/ 185261 h 304800"/>
                <a:gd name="connsiteX21" fmla="*/ 284131 w 295275"/>
                <a:gd name="connsiteY21" fmla="*/ 175260 h 304800"/>
                <a:gd name="connsiteX22" fmla="*/ 299942 w 295275"/>
                <a:gd name="connsiteY22" fmla="*/ 116110 h 304800"/>
                <a:gd name="connsiteX23" fmla="*/ 299942 w 295275"/>
                <a:gd name="connsiteY23" fmla="*/ 116110 h 304800"/>
                <a:gd name="connsiteX24" fmla="*/ 278321 w 295275"/>
                <a:gd name="connsiteY24" fmla="*/ 78581 h 304800"/>
                <a:gd name="connsiteX25" fmla="*/ 219170 w 295275"/>
                <a:gd name="connsiteY25" fmla="*/ 62770 h 304800"/>
                <a:gd name="connsiteX26" fmla="*/ 201835 w 295275"/>
                <a:gd name="connsiteY26" fmla="*/ 72771 h 304800"/>
                <a:gd name="connsiteX27" fmla="*/ 185357 w 295275"/>
                <a:gd name="connsiteY27" fmla="*/ 63246 h 304800"/>
                <a:gd name="connsiteX28" fmla="*/ 185357 w 295275"/>
                <a:gd name="connsiteY28" fmla="*/ 43244 h 304800"/>
                <a:gd name="connsiteX29" fmla="*/ 142018 w 295275"/>
                <a:gd name="connsiteY29" fmla="*/ 0 h 304800"/>
                <a:gd name="connsiteX30" fmla="*/ 98774 w 295275"/>
                <a:gd name="connsiteY30" fmla="*/ 0 h 304800"/>
                <a:gd name="connsiteX31" fmla="*/ 55436 w 295275"/>
                <a:gd name="connsiteY31" fmla="*/ 43244 h 304800"/>
                <a:gd name="connsiteX32" fmla="*/ 55436 w 295275"/>
                <a:gd name="connsiteY32" fmla="*/ 63246 h 304800"/>
                <a:gd name="connsiteX33" fmla="*/ 38957 w 295275"/>
                <a:gd name="connsiteY33" fmla="*/ 72771 h 304800"/>
                <a:gd name="connsiteX34" fmla="*/ 21622 w 295275"/>
                <a:gd name="connsiteY34" fmla="*/ 6277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95275" h="304800">
                  <a:moveTo>
                    <a:pt x="21622" y="62770"/>
                  </a:moveTo>
                  <a:lnTo>
                    <a:pt x="21622" y="62770"/>
                  </a:lnTo>
                  <a:lnTo>
                    <a:pt x="0" y="100298"/>
                  </a:lnTo>
                  <a:lnTo>
                    <a:pt x="38957" y="122777"/>
                  </a:lnTo>
                  <a:lnTo>
                    <a:pt x="98774" y="88202"/>
                  </a:lnTo>
                  <a:lnTo>
                    <a:pt x="98774" y="43244"/>
                  </a:lnTo>
                  <a:lnTo>
                    <a:pt x="142018" y="43244"/>
                  </a:lnTo>
                  <a:lnTo>
                    <a:pt x="142018" y="88202"/>
                  </a:lnTo>
                  <a:lnTo>
                    <a:pt x="201835" y="122777"/>
                  </a:lnTo>
                  <a:lnTo>
                    <a:pt x="240792" y="100298"/>
                  </a:lnTo>
                  <a:lnTo>
                    <a:pt x="262414" y="137732"/>
                  </a:lnTo>
                  <a:lnTo>
                    <a:pt x="223552" y="160211"/>
                  </a:lnTo>
                  <a:lnTo>
                    <a:pt x="223552" y="229362"/>
                  </a:lnTo>
                  <a:lnTo>
                    <a:pt x="262414" y="251841"/>
                  </a:lnTo>
                  <a:lnTo>
                    <a:pt x="240792" y="289274"/>
                  </a:lnTo>
                  <a:lnTo>
                    <a:pt x="278321" y="310991"/>
                  </a:lnTo>
                  <a:lnTo>
                    <a:pt x="299942" y="273463"/>
                  </a:lnTo>
                  <a:lnTo>
                    <a:pt x="299942" y="273463"/>
                  </a:lnTo>
                  <a:lnTo>
                    <a:pt x="284131" y="214312"/>
                  </a:lnTo>
                  <a:lnTo>
                    <a:pt x="266795" y="204311"/>
                  </a:lnTo>
                  <a:lnTo>
                    <a:pt x="266795" y="185261"/>
                  </a:lnTo>
                  <a:lnTo>
                    <a:pt x="284131" y="175260"/>
                  </a:lnTo>
                  <a:lnTo>
                    <a:pt x="299942" y="116110"/>
                  </a:lnTo>
                  <a:lnTo>
                    <a:pt x="299942" y="116110"/>
                  </a:lnTo>
                  <a:lnTo>
                    <a:pt x="278321" y="78581"/>
                  </a:lnTo>
                  <a:lnTo>
                    <a:pt x="219170" y="62770"/>
                  </a:lnTo>
                  <a:lnTo>
                    <a:pt x="201835" y="72771"/>
                  </a:lnTo>
                  <a:lnTo>
                    <a:pt x="185357" y="63246"/>
                  </a:lnTo>
                  <a:lnTo>
                    <a:pt x="185357" y="43244"/>
                  </a:lnTo>
                  <a:lnTo>
                    <a:pt x="142018" y="0"/>
                  </a:lnTo>
                  <a:lnTo>
                    <a:pt x="98774" y="0"/>
                  </a:lnTo>
                  <a:lnTo>
                    <a:pt x="55436" y="43244"/>
                  </a:lnTo>
                  <a:lnTo>
                    <a:pt x="55436" y="63246"/>
                  </a:lnTo>
                  <a:lnTo>
                    <a:pt x="38957" y="72771"/>
                  </a:lnTo>
                  <a:lnTo>
                    <a:pt x="21622" y="627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1D76F04-9E38-43CF-A671-5954941FE2B8}"/>
                </a:ext>
              </a:extLst>
            </p:cNvPr>
            <p:cNvSpPr/>
            <p:nvPr/>
          </p:nvSpPr>
          <p:spPr>
            <a:xfrm>
              <a:off x="3173890" y="1720359"/>
              <a:ext cx="76200" cy="66675"/>
            </a:xfrm>
            <a:custGeom>
              <a:avLst/>
              <a:gdLst>
                <a:gd name="connsiteX0" fmla="*/ 0 w 76200"/>
                <a:gd name="connsiteY0" fmla="*/ 0 h 66675"/>
                <a:gd name="connsiteX1" fmla="*/ 80772 w 76200"/>
                <a:gd name="connsiteY1" fmla="*/ 0 h 66675"/>
                <a:gd name="connsiteX2" fmla="*/ 80772 w 76200"/>
                <a:gd name="connsiteY2" fmla="*/ 74962 h 66675"/>
                <a:gd name="connsiteX3" fmla="*/ 0 w 76200"/>
                <a:gd name="connsiteY3" fmla="*/ 74962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66675">
                  <a:moveTo>
                    <a:pt x="0" y="0"/>
                  </a:moveTo>
                  <a:lnTo>
                    <a:pt x="80772" y="0"/>
                  </a:lnTo>
                  <a:lnTo>
                    <a:pt x="80772" y="74962"/>
                  </a:lnTo>
                  <a:lnTo>
                    <a:pt x="0" y="749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120FD409-0A1A-45CC-BD94-8CFB3A6244E5}"/>
                </a:ext>
              </a:extLst>
            </p:cNvPr>
            <p:cNvSpPr/>
            <p:nvPr/>
          </p:nvSpPr>
          <p:spPr>
            <a:xfrm>
              <a:off x="3173890" y="1773698"/>
              <a:ext cx="200025" cy="266700"/>
            </a:xfrm>
            <a:custGeom>
              <a:avLst/>
              <a:gdLst>
                <a:gd name="connsiteX0" fmla="*/ 157925 w 200025"/>
                <a:gd name="connsiteY0" fmla="*/ 230219 h 266700"/>
                <a:gd name="connsiteX1" fmla="*/ 157925 w 200025"/>
                <a:gd name="connsiteY1" fmla="*/ 230219 h 266700"/>
                <a:gd name="connsiteX2" fmla="*/ 157925 w 200025"/>
                <a:gd name="connsiteY2" fmla="*/ 185261 h 266700"/>
                <a:gd name="connsiteX3" fmla="*/ 98108 w 200025"/>
                <a:gd name="connsiteY3" fmla="*/ 150686 h 266700"/>
                <a:gd name="connsiteX4" fmla="*/ 59150 w 200025"/>
                <a:gd name="connsiteY4" fmla="*/ 173164 h 266700"/>
                <a:gd name="connsiteX5" fmla="*/ 37529 w 200025"/>
                <a:gd name="connsiteY5" fmla="*/ 135731 h 266700"/>
                <a:gd name="connsiteX6" fmla="*/ 76391 w 200025"/>
                <a:gd name="connsiteY6" fmla="*/ 113252 h 266700"/>
                <a:gd name="connsiteX7" fmla="*/ 76391 w 200025"/>
                <a:gd name="connsiteY7" fmla="*/ 44101 h 266700"/>
                <a:gd name="connsiteX8" fmla="*/ 0 w 200025"/>
                <a:gd name="connsiteY8" fmla="*/ 0 h 266700"/>
                <a:gd name="connsiteX9" fmla="*/ 15811 w 200025"/>
                <a:gd name="connsiteY9" fmla="*/ 59150 h 266700"/>
                <a:gd name="connsiteX10" fmla="*/ 33147 w 200025"/>
                <a:gd name="connsiteY10" fmla="*/ 69152 h 266700"/>
                <a:gd name="connsiteX11" fmla="*/ 33147 w 200025"/>
                <a:gd name="connsiteY11" fmla="*/ 88202 h 266700"/>
                <a:gd name="connsiteX12" fmla="*/ 15811 w 200025"/>
                <a:gd name="connsiteY12" fmla="*/ 98203 h 266700"/>
                <a:gd name="connsiteX13" fmla="*/ 0 w 200025"/>
                <a:gd name="connsiteY13" fmla="*/ 157353 h 266700"/>
                <a:gd name="connsiteX14" fmla="*/ 0 w 200025"/>
                <a:gd name="connsiteY14" fmla="*/ 157353 h 266700"/>
                <a:gd name="connsiteX15" fmla="*/ 21622 w 200025"/>
                <a:gd name="connsiteY15" fmla="*/ 194882 h 266700"/>
                <a:gd name="connsiteX16" fmla="*/ 80772 w 200025"/>
                <a:gd name="connsiteY16" fmla="*/ 210693 h 266700"/>
                <a:gd name="connsiteX17" fmla="*/ 80772 w 200025"/>
                <a:gd name="connsiteY17" fmla="*/ 210693 h 266700"/>
                <a:gd name="connsiteX18" fmla="*/ 98108 w 200025"/>
                <a:gd name="connsiteY18" fmla="*/ 200692 h 266700"/>
                <a:gd name="connsiteX19" fmla="*/ 114586 w 200025"/>
                <a:gd name="connsiteY19" fmla="*/ 210217 h 266700"/>
                <a:gd name="connsiteX20" fmla="*/ 114586 w 200025"/>
                <a:gd name="connsiteY20" fmla="*/ 230219 h 266700"/>
                <a:gd name="connsiteX21" fmla="*/ 157925 w 200025"/>
                <a:gd name="connsiteY21" fmla="*/ 273463 h 266700"/>
                <a:gd name="connsiteX22" fmla="*/ 201168 w 200025"/>
                <a:gd name="connsiteY22" fmla="*/ 273463 h 266700"/>
                <a:gd name="connsiteX23" fmla="*/ 201168 w 200025"/>
                <a:gd name="connsiteY23" fmla="*/ 230219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00025" h="266700">
                  <a:moveTo>
                    <a:pt x="157925" y="230219"/>
                  </a:moveTo>
                  <a:lnTo>
                    <a:pt x="157925" y="230219"/>
                  </a:lnTo>
                  <a:lnTo>
                    <a:pt x="157925" y="185261"/>
                  </a:lnTo>
                  <a:lnTo>
                    <a:pt x="98108" y="150686"/>
                  </a:lnTo>
                  <a:lnTo>
                    <a:pt x="59150" y="173164"/>
                  </a:lnTo>
                  <a:lnTo>
                    <a:pt x="37529" y="135731"/>
                  </a:lnTo>
                  <a:lnTo>
                    <a:pt x="76391" y="113252"/>
                  </a:lnTo>
                  <a:lnTo>
                    <a:pt x="76391" y="44101"/>
                  </a:lnTo>
                  <a:lnTo>
                    <a:pt x="0" y="0"/>
                  </a:lnTo>
                  <a:lnTo>
                    <a:pt x="15811" y="59150"/>
                  </a:lnTo>
                  <a:lnTo>
                    <a:pt x="33147" y="69152"/>
                  </a:lnTo>
                  <a:lnTo>
                    <a:pt x="33147" y="88202"/>
                  </a:lnTo>
                  <a:lnTo>
                    <a:pt x="15811" y="98203"/>
                  </a:lnTo>
                  <a:lnTo>
                    <a:pt x="0" y="157353"/>
                  </a:lnTo>
                  <a:lnTo>
                    <a:pt x="0" y="157353"/>
                  </a:lnTo>
                  <a:lnTo>
                    <a:pt x="21622" y="194882"/>
                  </a:lnTo>
                  <a:lnTo>
                    <a:pt x="80772" y="210693"/>
                  </a:lnTo>
                  <a:lnTo>
                    <a:pt x="80772" y="210693"/>
                  </a:lnTo>
                  <a:lnTo>
                    <a:pt x="98108" y="200692"/>
                  </a:lnTo>
                  <a:lnTo>
                    <a:pt x="114586" y="210217"/>
                  </a:lnTo>
                  <a:lnTo>
                    <a:pt x="114586" y="230219"/>
                  </a:lnTo>
                  <a:lnTo>
                    <a:pt x="157925" y="273463"/>
                  </a:lnTo>
                  <a:lnTo>
                    <a:pt x="201168" y="273463"/>
                  </a:lnTo>
                  <a:lnTo>
                    <a:pt x="201168" y="2302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8AE21F2E-C812-411F-9285-70D8F339DBCF}"/>
                </a:ext>
              </a:extLst>
            </p:cNvPr>
            <p:cNvSpPr/>
            <p:nvPr/>
          </p:nvSpPr>
          <p:spPr>
            <a:xfrm>
              <a:off x="3288476" y="1787415"/>
              <a:ext cx="200025" cy="276225"/>
            </a:xfrm>
            <a:custGeom>
              <a:avLst/>
              <a:gdLst>
                <a:gd name="connsiteX0" fmla="*/ 200501 w 200025"/>
                <a:gd name="connsiteY0" fmla="*/ 256508 h 276225"/>
                <a:gd name="connsiteX1" fmla="*/ 114300 w 200025"/>
                <a:gd name="connsiteY1" fmla="*/ 107156 h 276225"/>
                <a:gd name="connsiteX2" fmla="*/ 129921 w 200025"/>
                <a:gd name="connsiteY2" fmla="*/ 64960 h 276225"/>
                <a:gd name="connsiteX3" fmla="*/ 64960 w 200025"/>
                <a:gd name="connsiteY3" fmla="*/ 0 h 276225"/>
                <a:gd name="connsiteX4" fmla="*/ 53054 w 200025"/>
                <a:gd name="connsiteY4" fmla="*/ 1143 h 276225"/>
                <a:gd name="connsiteX5" fmla="*/ 83725 w 200025"/>
                <a:gd name="connsiteY5" fmla="*/ 54292 h 276225"/>
                <a:gd name="connsiteX6" fmla="*/ 83725 w 200025"/>
                <a:gd name="connsiteY6" fmla="*/ 54292 h 276225"/>
                <a:gd name="connsiteX7" fmla="*/ 86582 w 200025"/>
                <a:gd name="connsiteY7" fmla="*/ 64960 h 276225"/>
                <a:gd name="connsiteX8" fmla="*/ 64960 w 200025"/>
                <a:gd name="connsiteY8" fmla="*/ 86582 h 276225"/>
                <a:gd name="connsiteX9" fmla="*/ 46292 w 200025"/>
                <a:gd name="connsiteY9" fmla="*/ 75914 h 276225"/>
                <a:gd name="connsiteX10" fmla="*/ 46292 w 200025"/>
                <a:gd name="connsiteY10" fmla="*/ 75914 h 276225"/>
                <a:gd name="connsiteX11" fmla="*/ 15621 w 200025"/>
                <a:gd name="connsiteY11" fmla="*/ 22765 h 276225"/>
                <a:gd name="connsiteX12" fmla="*/ 0 w 200025"/>
                <a:gd name="connsiteY12" fmla="*/ 64960 h 276225"/>
                <a:gd name="connsiteX13" fmla="*/ 64960 w 200025"/>
                <a:gd name="connsiteY13" fmla="*/ 129921 h 276225"/>
                <a:gd name="connsiteX14" fmla="*/ 76867 w 200025"/>
                <a:gd name="connsiteY14" fmla="*/ 128778 h 276225"/>
                <a:gd name="connsiteX15" fmla="*/ 163068 w 200025"/>
                <a:gd name="connsiteY15" fmla="*/ 278130 h 276225"/>
                <a:gd name="connsiteX16" fmla="*/ 200501 w 200025"/>
                <a:gd name="connsiteY16" fmla="*/ 256508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0025" h="276225">
                  <a:moveTo>
                    <a:pt x="200501" y="256508"/>
                  </a:moveTo>
                  <a:lnTo>
                    <a:pt x="114300" y="107156"/>
                  </a:lnTo>
                  <a:cubicBezTo>
                    <a:pt x="124016" y="95821"/>
                    <a:pt x="129921" y="81058"/>
                    <a:pt x="129921" y="64960"/>
                  </a:cubicBezTo>
                  <a:cubicBezTo>
                    <a:pt x="129921" y="29051"/>
                    <a:pt x="100870" y="0"/>
                    <a:pt x="64960" y="0"/>
                  </a:cubicBezTo>
                  <a:cubicBezTo>
                    <a:pt x="60865" y="0"/>
                    <a:pt x="56959" y="381"/>
                    <a:pt x="53054" y="1143"/>
                  </a:cubicBezTo>
                  <a:lnTo>
                    <a:pt x="83725" y="54292"/>
                  </a:lnTo>
                  <a:lnTo>
                    <a:pt x="83725" y="54292"/>
                  </a:lnTo>
                  <a:cubicBezTo>
                    <a:pt x="85534" y="57436"/>
                    <a:pt x="86582" y="61055"/>
                    <a:pt x="86582" y="64960"/>
                  </a:cubicBezTo>
                  <a:cubicBezTo>
                    <a:pt x="86582" y="76962"/>
                    <a:pt x="76867" y="86582"/>
                    <a:pt x="64960" y="86582"/>
                  </a:cubicBezTo>
                  <a:cubicBezTo>
                    <a:pt x="57055" y="86582"/>
                    <a:pt x="50102" y="82296"/>
                    <a:pt x="46292" y="75914"/>
                  </a:cubicBezTo>
                  <a:lnTo>
                    <a:pt x="46292" y="75914"/>
                  </a:lnTo>
                  <a:lnTo>
                    <a:pt x="15621" y="22765"/>
                  </a:lnTo>
                  <a:cubicBezTo>
                    <a:pt x="5905" y="34100"/>
                    <a:pt x="0" y="48863"/>
                    <a:pt x="0" y="64960"/>
                  </a:cubicBezTo>
                  <a:cubicBezTo>
                    <a:pt x="0" y="100870"/>
                    <a:pt x="29051" y="129921"/>
                    <a:pt x="64960" y="129921"/>
                  </a:cubicBezTo>
                  <a:cubicBezTo>
                    <a:pt x="69056" y="129921"/>
                    <a:pt x="72962" y="129540"/>
                    <a:pt x="76867" y="128778"/>
                  </a:cubicBezTo>
                  <a:lnTo>
                    <a:pt x="163068" y="278130"/>
                  </a:lnTo>
                  <a:lnTo>
                    <a:pt x="200501" y="2565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33" name="Rectangle: Top Corners Rounded 32">
            <a:extLst>
              <a:ext uri="{FF2B5EF4-FFF2-40B4-BE49-F238E27FC236}">
                <a16:creationId xmlns:a16="http://schemas.microsoft.com/office/drawing/2014/main" id="{3ABE10F1-FC80-48C8-A242-721E67CA7B21}"/>
              </a:ext>
            </a:extLst>
          </p:cNvPr>
          <p:cNvSpPr/>
          <p:nvPr userDrawn="1"/>
        </p:nvSpPr>
        <p:spPr>
          <a:xfrm>
            <a:off x="4678156" y="1749906"/>
            <a:ext cx="4279818" cy="738665"/>
          </a:xfrm>
          <a:prstGeom prst="round2SameRect">
            <a:avLst>
              <a:gd name="adj1" fmla="val 18889"/>
              <a:gd name="adj2" fmla="val 0"/>
            </a:avLst>
          </a:prstGeom>
          <a:solidFill>
            <a:srgbClr val="6F25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34" name="Graphic 125">
            <a:extLst>
              <a:ext uri="{FF2B5EF4-FFF2-40B4-BE49-F238E27FC236}">
                <a16:creationId xmlns:a16="http://schemas.microsoft.com/office/drawing/2014/main" id="{84ED61E8-08A2-4364-AA3A-1466D2862E2A}"/>
              </a:ext>
            </a:extLst>
          </p:cNvPr>
          <p:cNvGrpSpPr/>
          <p:nvPr userDrawn="1"/>
        </p:nvGrpSpPr>
        <p:grpSpPr>
          <a:xfrm>
            <a:off x="7424175" y="1783229"/>
            <a:ext cx="653026" cy="652970"/>
            <a:chOff x="6864615" y="2256029"/>
            <a:chExt cx="653026" cy="652970"/>
          </a:xfrm>
        </p:grpSpPr>
        <p:grpSp>
          <p:nvGrpSpPr>
            <p:cNvPr id="35" name="Graphic 125">
              <a:extLst>
                <a:ext uri="{FF2B5EF4-FFF2-40B4-BE49-F238E27FC236}">
                  <a16:creationId xmlns:a16="http://schemas.microsoft.com/office/drawing/2014/main" id="{17D89B76-8162-41F4-A0EF-3E0107A5B445}"/>
                </a:ext>
              </a:extLst>
            </p:cNvPr>
            <p:cNvGrpSpPr/>
            <p:nvPr/>
          </p:nvGrpSpPr>
          <p:grpSpPr>
            <a:xfrm>
              <a:off x="7017432" y="2372440"/>
              <a:ext cx="322956" cy="322956"/>
              <a:chOff x="7017432" y="2372440"/>
              <a:chExt cx="322956" cy="322956"/>
            </a:xfrm>
            <a:solidFill>
              <a:srgbClr val="FFFFFF"/>
            </a:solidFill>
          </p:grpSpPr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352B48D-B00A-4AA6-8477-231DB27132DD}"/>
                  </a:ext>
                </a:extLst>
              </p:cNvPr>
              <p:cNvSpPr/>
              <p:nvPr/>
            </p:nvSpPr>
            <p:spPr>
              <a:xfrm>
                <a:off x="7199462" y="2372440"/>
                <a:ext cx="132119" cy="29360"/>
              </a:xfrm>
              <a:custGeom>
                <a:avLst/>
                <a:gdLst>
                  <a:gd name="connsiteX0" fmla="*/ 0 w 132118"/>
                  <a:gd name="connsiteY0" fmla="*/ 0 h 29359"/>
                  <a:gd name="connsiteX1" fmla="*/ 145624 w 132118"/>
                  <a:gd name="connsiteY1" fmla="*/ 0 h 29359"/>
                  <a:gd name="connsiteX2" fmla="*/ 145624 w 132118"/>
                  <a:gd name="connsiteY2" fmla="*/ 36406 h 29359"/>
                  <a:gd name="connsiteX3" fmla="*/ 0 w 132118"/>
                  <a:gd name="connsiteY3" fmla="*/ 36406 h 29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118" h="29359">
                    <a:moveTo>
                      <a:pt x="0" y="0"/>
                    </a:moveTo>
                    <a:lnTo>
                      <a:pt x="145624" y="0"/>
                    </a:lnTo>
                    <a:lnTo>
                      <a:pt x="145624" y="36406"/>
                    </a:lnTo>
                    <a:lnTo>
                      <a:pt x="0" y="36406"/>
                    </a:lnTo>
                    <a:close/>
                  </a:path>
                </a:pathLst>
              </a:custGeom>
              <a:solidFill>
                <a:schemeClr val="bg1"/>
              </a:solidFill>
              <a:ln w="14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271F3F98-BDA5-4307-AFAA-7789264E6130}"/>
                  </a:ext>
                </a:extLst>
              </p:cNvPr>
              <p:cNvSpPr/>
              <p:nvPr/>
            </p:nvSpPr>
            <p:spPr>
              <a:xfrm>
                <a:off x="7199462" y="2445252"/>
                <a:ext cx="132119" cy="29360"/>
              </a:xfrm>
              <a:custGeom>
                <a:avLst/>
                <a:gdLst>
                  <a:gd name="connsiteX0" fmla="*/ 0 w 132118"/>
                  <a:gd name="connsiteY0" fmla="*/ 0 h 29359"/>
                  <a:gd name="connsiteX1" fmla="*/ 145624 w 132118"/>
                  <a:gd name="connsiteY1" fmla="*/ 0 h 29359"/>
                  <a:gd name="connsiteX2" fmla="*/ 145624 w 132118"/>
                  <a:gd name="connsiteY2" fmla="*/ 36406 h 29359"/>
                  <a:gd name="connsiteX3" fmla="*/ 0 w 132118"/>
                  <a:gd name="connsiteY3" fmla="*/ 36406 h 29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118" h="29359">
                    <a:moveTo>
                      <a:pt x="0" y="0"/>
                    </a:moveTo>
                    <a:lnTo>
                      <a:pt x="145624" y="0"/>
                    </a:lnTo>
                    <a:lnTo>
                      <a:pt x="145624" y="36406"/>
                    </a:lnTo>
                    <a:lnTo>
                      <a:pt x="0" y="36406"/>
                    </a:lnTo>
                    <a:close/>
                  </a:path>
                </a:pathLst>
              </a:custGeom>
              <a:solidFill>
                <a:schemeClr val="bg1"/>
              </a:solidFill>
              <a:ln w="14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2DA285AD-96EC-4096-90B4-5BD52B969CB9}"/>
                  </a:ext>
                </a:extLst>
              </p:cNvPr>
              <p:cNvSpPr/>
              <p:nvPr/>
            </p:nvSpPr>
            <p:spPr>
              <a:xfrm>
                <a:off x="7199462" y="2518064"/>
                <a:ext cx="132119" cy="29360"/>
              </a:xfrm>
              <a:custGeom>
                <a:avLst/>
                <a:gdLst>
                  <a:gd name="connsiteX0" fmla="*/ 0 w 132118"/>
                  <a:gd name="connsiteY0" fmla="*/ 0 h 29359"/>
                  <a:gd name="connsiteX1" fmla="*/ 145624 w 132118"/>
                  <a:gd name="connsiteY1" fmla="*/ 0 h 29359"/>
                  <a:gd name="connsiteX2" fmla="*/ 145624 w 132118"/>
                  <a:gd name="connsiteY2" fmla="*/ 36406 h 29359"/>
                  <a:gd name="connsiteX3" fmla="*/ 0 w 132118"/>
                  <a:gd name="connsiteY3" fmla="*/ 36406 h 29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118" h="29359">
                    <a:moveTo>
                      <a:pt x="0" y="0"/>
                    </a:moveTo>
                    <a:lnTo>
                      <a:pt x="145624" y="0"/>
                    </a:lnTo>
                    <a:lnTo>
                      <a:pt x="145624" y="36406"/>
                    </a:lnTo>
                    <a:lnTo>
                      <a:pt x="0" y="36406"/>
                    </a:lnTo>
                    <a:close/>
                  </a:path>
                </a:pathLst>
              </a:custGeom>
              <a:solidFill>
                <a:schemeClr val="bg1"/>
              </a:solidFill>
              <a:ln w="14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74719C9E-A028-4A66-ABE6-6F92DB69BA50}"/>
                  </a:ext>
                </a:extLst>
              </p:cNvPr>
              <p:cNvSpPr/>
              <p:nvPr/>
            </p:nvSpPr>
            <p:spPr>
              <a:xfrm>
                <a:off x="7199462" y="2590876"/>
                <a:ext cx="132119" cy="29360"/>
              </a:xfrm>
              <a:custGeom>
                <a:avLst/>
                <a:gdLst>
                  <a:gd name="connsiteX0" fmla="*/ 0 w 132118"/>
                  <a:gd name="connsiteY0" fmla="*/ 0 h 29359"/>
                  <a:gd name="connsiteX1" fmla="*/ 145624 w 132118"/>
                  <a:gd name="connsiteY1" fmla="*/ 0 h 29359"/>
                  <a:gd name="connsiteX2" fmla="*/ 145624 w 132118"/>
                  <a:gd name="connsiteY2" fmla="*/ 36406 h 29359"/>
                  <a:gd name="connsiteX3" fmla="*/ 0 w 132118"/>
                  <a:gd name="connsiteY3" fmla="*/ 36406 h 29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118" h="29359">
                    <a:moveTo>
                      <a:pt x="0" y="0"/>
                    </a:moveTo>
                    <a:lnTo>
                      <a:pt x="145624" y="0"/>
                    </a:lnTo>
                    <a:lnTo>
                      <a:pt x="145624" y="36406"/>
                    </a:lnTo>
                    <a:lnTo>
                      <a:pt x="0" y="36406"/>
                    </a:lnTo>
                    <a:close/>
                  </a:path>
                </a:pathLst>
              </a:custGeom>
              <a:solidFill>
                <a:schemeClr val="bg1"/>
              </a:solidFill>
              <a:ln w="14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435D2BBE-E106-4F78-8B20-525293F7990D}"/>
                  </a:ext>
                </a:extLst>
              </p:cNvPr>
              <p:cNvSpPr/>
              <p:nvPr/>
            </p:nvSpPr>
            <p:spPr>
              <a:xfrm>
                <a:off x="7199462" y="2663688"/>
                <a:ext cx="132119" cy="29360"/>
              </a:xfrm>
              <a:custGeom>
                <a:avLst/>
                <a:gdLst>
                  <a:gd name="connsiteX0" fmla="*/ 0 w 132118"/>
                  <a:gd name="connsiteY0" fmla="*/ 0 h 29359"/>
                  <a:gd name="connsiteX1" fmla="*/ 145624 w 132118"/>
                  <a:gd name="connsiteY1" fmla="*/ 0 h 29359"/>
                  <a:gd name="connsiteX2" fmla="*/ 145624 w 132118"/>
                  <a:gd name="connsiteY2" fmla="*/ 36406 h 29359"/>
                  <a:gd name="connsiteX3" fmla="*/ 0 w 132118"/>
                  <a:gd name="connsiteY3" fmla="*/ 36406 h 29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118" h="29359">
                    <a:moveTo>
                      <a:pt x="0" y="0"/>
                    </a:moveTo>
                    <a:lnTo>
                      <a:pt x="145624" y="0"/>
                    </a:lnTo>
                    <a:lnTo>
                      <a:pt x="145624" y="36406"/>
                    </a:lnTo>
                    <a:lnTo>
                      <a:pt x="0" y="36406"/>
                    </a:lnTo>
                    <a:close/>
                  </a:path>
                </a:pathLst>
              </a:custGeom>
              <a:solidFill>
                <a:schemeClr val="bg1"/>
              </a:solidFill>
              <a:ln w="14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5478AAEE-6F04-4534-8AC3-6D18FFAAD84A}"/>
                  </a:ext>
                </a:extLst>
              </p:cNvPr>
              <p:cNvSpPr/>
              <p:nvPr/>
            </p:nvSpPr>
            <p:spPr>
              <a:xfrm>
                <a:off x="7017432" y="2663688"/>
                <a:ext cx="132119" cy="29360"/>
              </a:xfrm>
              <a:custGeom>
                <a:avLst/>
                <a:gdLst>
                  <a:gd name="connsiteX0" fmla="*/ 0 w 132118"/>
                  <a:gd name="connsiteY0" fmla="*/ 0 h 29359"/>
                  <a:gd name="connsiteX1" fmla="*/ 145624 w 132118"/>
                  <a:gd name="connsiteY1" fmla="*/ 0 h 29359"/>
                  <a:gd name="connsiteX2" fmla="*/ 145624 w 132118"/>
                  <a:gd name="connsiteY2" fmla="*/ 36406 h 29359"/>
                  <a:gd name="connsiteX3" fmla="*/ 0 w 132118"/>
                  <a:gd name="connsiteY3" fmla="*/ 36406 h 29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118" h="29359">
                    <a:moveTo>
                      <a:pt x="0" y="0"/>
                    </a:moveTo>
                    <a:lnTo>
                      <a:pt x="145624" y="0"/>
                    </a:lnTo>
                    <a:lnTo>
                      <a:pt x="145624" y="36406"/>
                    </a:lnTo>
                    <a:lnTo>
                      <a:pt x="0" y="36406"/>
                    </a:lnTo>
                    <a:close/>
                  </a:path>
                </a:pathLst>
              </a:custGeom>
              <a:solidFill>
                <a:schemeClr val="bg1"/>
              </a:solidFill>
              <a:ln w="14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95CBA8D1-4411-450D-A914-1151B2C5A057}"/>
                  </a:ext>
                </a:extLst>
              </p:cNvPr>
              <p:cNvSpPr/>
              <p:nvPr/>
            </p:nvSpPr>
            <p:spPr>
              <a:xfrm>
                <a:off x="7017432" y="2590876"/>
                <a:ext cx="132119" cy="29360"/>
              </a:xfrm>
              <a:custGeom>
                <a:avLst/>
                <a:gdLst>
                  <a:gd name="connsiteX0" fmla="*/ 0 w 132118"/>
                  <a:gd name="connsiteY0" fmla="*/ 0 h 29359"/>
                  <a:gd name="connsiteX1" fmla="*/ 145624 w 132118"/>
                  <a:gd name="connsiteY1" fmla="*/ 0 h 29359"/>
                  <a:gd name="connsiteX2" fmla="*/ 145624 w 132118"/>
                  <a:gd name="connsiteY2" fmla="*/ 36406 h 29359"/>
                  <a:gd name="connsiteX3" fmla="*/ 0 w 132118"/>
                  <a:gd name="connsiteY3" fmla="*/ 36406 h 29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118" h="29359">
                    <a:moveTo>
                      <a:pt x="0" y="0"/>
                    </a:moveTo>
                    <a:lnTo>
                      <a:pt x="145624" y="0"/>
                    </a:lnTo>
                    <a:lnTo>
                      <a:pt x="145624" y="36406"/>
                    </a:lnTo>
                    <a:lnTo>
                      <a:pt x="0" y="36406"/>
                    </a:lnTo>
                    <a:close/>
                  </a:path>
                </a:pathLst>
              </a:custGeom>
              <a:solidFill>
                <a:schemeClr val="bg1"/>
              </a:solidFill>
              <a:ln w="14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0DD3F049-917D-4AC6-8B5A-1F9ABC70D4E8}"/>
                  </a:ext>
                </a:extLst>
              </p:cNvPr>
              <p:cNvSpPr/>
              <p:nvPr/>
            </p:nvSpPr>
            <p:spPr>
              <a:xfrm>
                <a:off x="7017432" y="2518064"/>
                <a:ext cx="132119" cy="29360"/>
              </a:xfrm>
              <a:custGeom>
                <a:avLst/>
                <a:gdLst>
                  <a:gd name="connsiteX0" fmla="*/ 0 w 132118"/>
                  <a:gd name="connsiteY0" fmla="*/ 0 h 29359"/>
                  <a:gd name="connsiteX1" fmla="*/ 145624 w 132118"/>
                  <a:gd name="connsiteY1" fmla="*/ 0 h 29359"/>
                  <a:gd name="connsiteX2" fmla="*/ 145624 w 132118"/>
                  <a:gd name="connsiteY2" fmla="*/ 36406 h 29359"/>
                  <a:gd name="connsiteX3" fmla="*/ 0 w 132118"/>
                  <a:gd name="connsiteY3" fmla="*/ 36406 h 29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118" h="29359">
                    <a:moveTo>
                      <a:pt x="0" y="0"/>
                    </a:moveTo>
                    <a:lnTo>
                      <a:pt x="145624" y="0"/>
                    </a:lnTo>
                    <a:lnTo>
                      <a:pt x="145624" y="36406"/>
                    </a:lnTo>
                    <a:lnTo>
                      <a:pt x="0" y="36406"/>
                    </a:lnTo>
                    <a:close/>
                  </a:path>
                </a:pathLst>
              </a:custGeom>
              <a:solidFill>
                <a:schemeClr val="bg1"/>
              </a:solidFill>
              <a:ln w="14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6" name="Graphic 125">
              <a:extLst>
                <a:ext uri="{FF2B5EF4-FFF2-40B4-BE49-F238E27FC236}">
                  <a16:creationId xmlns:a16="http://schemas.microsoft.com/office/drawing/2014/main" id="{C7E43E51-9AFE-4B98-B7D0-15FEF093911A}"/>
                </a:ext>
              </a:extLst>
            </p:cNvPr>
            <p:cNvGrpSpPr/>
            <p:nvPr/>
          </p:nvGrpSpPr>
          <p:grpSpPr>
            <a:xfrm>
              <a:off x="6864615" y="2256029"/>
              <a:ext cx="653026" cy="652970"/>
              <a:chOff x="6864615" y="2256029"/>
              <a:chExt cx="653026" cy="652970"/>
            </a:xfrm>
            <a:solidFill>
              <a:srgbClr val="FFFFFF"/>
            </a:solidFill>
          </p:grpSpPr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D6773718-FAFE-4385-B306-3BE039A8B602}"/>
                  </a:ext>
                </a:extLst>
              </p:cNvPr>
              <p:cNvSpPr/>
              <p:nvPr/>
            </p:nvSpPr>
            <p:spPr>
              <a:xfrm>
                <a:off x="7341483" y="2732841"/>
                <a:ext cx="176158" cy="176158"/>
              </a:xfrm>
              <a:custGeom>
                <a:avLst/>
                <a:gdLst>
                  <a:gd name="connsiteX0" fmla="*/ 0 w 176158"/>
                  <a:gd name="connsiteY0" fmla="*/ 47230 h 176158"/>
                  <a:gd name="connsiteX1" fmla="*/ 47230 w 176158"/>
                  <a:gd name="connsiteY1" fmla="*/ 0 h 176158"/>
                  <a:gd name="connsiteX2" fmla="*/ 190475 w 176158"/>
                  <a:gd name="connsiteY2" fmla="*/ 143246 h 176158"/>
                  <a:gd name="connsiteX3" fmla="*/ 143246 w 176158"/>
                  <a:gd name="connsiteY3" fmla="*/ 190475 h 176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6158" h="176158">
                    <a:moveTo>
                      <a:pt x="0" y="47230"/>
                    </a:moveTo>
                    <a:lnTo>
                      <a:pt x="47230" y="0"/>
                    </a:lnTo>
                    <a:lnTo>
                      <a:pt x="190475" y="143246"/>
                    </a:lnTo>
                    <a:lnTo>
                      <a:pt x="143246" y="190475"/>
                    </a:lnTo>
                    <a:close/>
                  </a:path>
                </a:pathLst>
              </a:custGeom>
              <a:solidFill>
                <a:schemeClr val="bg1"/>
              </a:solidFill>
              <a:ln w="14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50934564-DC5B-4941-911E-CC3B1B1C6261}"/>
                  </a:ext>
                </a:extLst>
              </p:cNvPr>
              <p:cNvSpPr/>
              <p:nvPr/>
            </p:nvSpPr>
            <p:spPr>
              <a:xfrm>
                <a:off x="6864615" y="2256029"/>
                <a:ext cx="587194" cy="587194"/>
              </a:xfrm>
              <a:custGeom>
                <a:avLst/>
                <a:gdLst>
                  <a:gd name="connsiteX0" fmla="*/ 300203 w 587193"/>
                  <a:gd name="connsiteY0" fmla="*/ 68555 h 587193"/>
                  <a:gd name="connsiteX1" fmla="*/ 68555 w 587193"/>
                  <a:gd name="connsiteY1" fmla="*/ 300203 h 587193"/>
                  <a:gd name="connsiteX2" fmla="*/ 300203 w 587193"/>
                  <a:gd name="connsiteY2" fmla="*/ 531851 h 587193"/>
                  <a:gd name="connsiteX3" fmla="*/ 531851 w 587193"/>
                  <a:gd name="connsiteY3" fmla="*/ 300203 h 587193"/>
                  <a:gd name="connsiteX4" fmla="*/ 300203 w 587193"/>
                  <a:gd name="connsiteY4" fmla="*/ 68555 h 587193"/>
                  <a:gd name="connsiteX5" fmla="*/ 300203 w 587193"/>
                  <a:gd name="connsiteY5" fmla="*/ 600259 h 587193"/>
                  <a:gd name="connsiteX6" fmla="*/ 0 w 587193"/>
                  <a:gd name="connsiteY6" fmla="*/ 300056 h 587193"/>
                  <a:gd name="connsiteX7" fmla="*/ 300203 w 587193"/>
                  <a:gd name="connsiteY7" fmla="*/ 0 h 587193"/>
                  <a:gd name="connsiteX8" fmla="*/ 600405 w 587193"/>
                  <a:gd name="connsiteY8" fmla="*/ 300203 h 587193"/>
                  <a:gd name="connsiteX9" fmla="*/ 300203 w 587193"/>
                  <a:gd name="connsiteY9" fmla="*/ 600259 h 587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87193" h="587193">
                    <a:moveTo>
                      <a:pt x="300203" y="68555"/>
                    </a:moveTo>
                    <a:cubicBezTo>
                      <a:pt x="172488" y="68555"/>
                      <a:pt x="68555" y="172488"/>
                      <a:pt x="68555" y="300203"/>
                    </a:cubicBezTo>
                    <a:cubicBezTo>
                      <a:pt x="68555" y="427917"/>
                      <a:pt x="172488" y="531851"/>
                      <a:pt x="300203" y="531851"/>
                    </a:cubicBezTo>
                    <a:cubicBezTo>
                      <a:pt x="427917" y="531851"/>
                      <a:pt x="531851" y="427917"/>
                      <a:pt x="531851" y="300203"/>
                    </a:cubicBezTo>
                    <a:cubicBezTo>
                      <a:pt x="531851" y="172488"/>
                      <a:pt x="427917" y="68555"/>
                      <a:pt x="300203" y="68555"/>
                    </a:cubicBezTo>
                    <a:moveTo>
                      <a:pt x="300203" y="600259"/>
                    </a:moveTo>
                    <a:cubicBezTo>
                      <a:pt x="134761" y="600259"/>
                      <a:pt x="0" y="465645"/>
                      <a:pt x="0" y="300056"/>
                    </a:cubicBezTo>
                    <a:cubicBezTo>
                      <a:pt x="0" y="134467"/>
                      <a:pt x="134614" y="0"/>
                      <a:pt x="300203" y="0"/>
                    </a:cubicBezTo>
                    <a:cubicBezTo>
                      <a:pt x="465791" y="0"/>
                      <a:pt x="600405" y="134614"/>
                      <a:pt x="600405" y="300203"/>
                    </a:cubicBezTo>
                    <a:cubicBezTo>
                      <a:pt x="600405" y="465791"/>
                      <a:pt x="465645" y="600259"/>
                      <a:pt x="300203" y="600259"/>
                    </a:cubicBezTo>
                  </a:path>
                </a:pathLst>
              </a:custGeom>
              <a:solidFill>
                <a:schemeClr val="bg1"/>
              </a:solidFill>
              <a:ln w="146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3C753527-4E7D-4A1F-A9F6-9278772D57CD}"/>
              </a:ext>
            </a:extLst>
          </p:cNvPr>
          <p:cNvSpPr/>
          <p:nvPr userDrawn="1"/>
        </p:nvSpPr>
        <p:spPr>
          <a:xfrm>
            <a:off x="8957976" y="2424059"/>
            <a:ext cx="2884178" cy="4084484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50" name="Rectangle: Top Corners Rounded 49">
            <a:extLst>
              <a:ext uri="{FF2B5EF4-FFF2-40B4-BE49-F238E27FC236}">
                <a16:creationId xmlns:a16="http://schemas.microsoft.com/office/drawing/2014/main" id="{3ABB7089-B6AE-428C-8B97-4452713467F0}"/>
              </a:ext>
            </a:extLst>
          </p:cNvPr>
          <p:cNvSpPr/>
          <p:nvPr userDrawn="1"/>
        </p:nvSpPr>
        <p:spPr>
          <a:xfrm>
            <a:off x="8945515" y="1744161"/>
            <a:ext cx="2909097" cy="756957"/>
          </a:xfrm>
          <a:prstGeom prst="round2SameRect">
            <a:avLst>
              <a:gd name="adj1" fmla="val 18889"/>
              <a:gd name="adj2" fmla="val 0"/>
            </a:avLst>
          </a:prstGeom>
          <a:solidFill>
            <a:srgbClr val="4600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460073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A3974783-2979-45E5-9D54-6EC71E4E1A6E}"/>
              </a:ext>
            </a:extLst>
          </p:cNvPr>
          <p:cNvSpPr/>
          <p:nvPr userDrawn="1"/>
        </p:nvSpPr>
        <p:spPr>
          <a:xfrm>
            <a:off x="10901608" y="1803062"/>
            <a:ext cx="471371" cy="608221"/>
          </a:xfrm>
          <a:custGeom>
            <a:avLst/>
            <a:gdLst>
              <a:gd name="connsiteX0" fmla="*/ 237173 w 295275"/>
              <a:gd name="connsiteY0" fmla="*/ 280416 h 381000"/>
              <a:gd name="connsiteX1" fmla="*/ 303086 w 295275"/>
              <a:gd name="connsiteY1" fmla="*/ 151543 h 381000"/>
              <a:gd name="connsiteX2" fmla="*/ 151543 w 295275"/>
              <a:gd name="connsiteY2" fmla="*/ 0 h 381000"/>
              <a:gd name="connsiteX3" fmla="*/ 0 w 295275"/>
              <a:gd name="connsiteY3" fmla="*/ 151448 h 381000"/>
              <a:gd name="connsiteX4" fmla="*/ 65913 w 295275"/>
              <a:gd name="connsiteY4" fmla="*/ 280321 h 381000"/>
              <a:gd name="connsiteX5" fmla="*/ 86582 w 295275"/>
              <a:gd name="connsiteY5" fmla="*/ 302990 h 381000"/>
              <a:gd name="connsiteX6" fmla="*/ 86582 w 295275"/>
              <a:gd name="connsiteY6" fmla="*/ 346329 h 381000"/>
              <a:gd name="connsiteX7" fmla="*/ 129921 w 295275"/>
              <a:gd name="connsiteY7" fmla="*/ 389668 h 381000"/>
              <a:gd name="connsiteX8" fmla="*/ 129921 w 295275"/>
              <a:gd name="connsiteY8" fmla="*/ 389668 h 381000"/>
              <a:gd name="connsiteX9" fmla="*/ 173260 w 295275"/>
              <a:gd name="connsiteY9" fmla="*/ 389668 h 381000"/>
              <a:gd name="connsiteX10" fmla="*/ 216599 w 295275"/>
              <a:gd name="connsiteY10" fmla="*/ 346329 h 381000"/>
              <a:gd name="connsiteX11" fmla="*/ 130016 w 295275"/>
              <a:gd name="connsiteY11" fmla="*/ 346329 h 381000"/>
              <a:gd name="connsiteX12" fmla="*/ 130016 w 295275"/>
              <a:gd name="connsiteY12" fmla="*/ 302990 h 381000"/>
              <a:gd name="connsiteX13" fmla="*/ 92869 w 295275"/>
              <a:gd name="connsiteY13" fmla="*/ 246412 h 381000"/>
              <a:gd name="connsiteX14" fmla="*/ 43434 w 295275"/>
              <a:gd name="connsiteY14" fmla="*/ 151543 h 381000"/>
              <a:gd name="connsiteX15" fmla="*/ 151638 w 295275"/>
              <a:gd name="connsiteY15" fmla="*/ 43339 h 381000"/>
              <a:gd name="connsiteX16" fmla="*/ 259842 w 295275"/>
              <a:gd name="connsiteY16" fmla="*/ 151543 h 381000"/>
              <a:gd name="connsiteX17" fmla="*/ 210407 w 295275"/>
              <a:gd name="connsiteY17" fmla="*/ 246412 h 381000"/>
              <a:gd name="connsiteX18" fmla="*/ 173260 w 295275"/>
              <a:gd name="connsiteY18" fmla="*/ 302990 h 381000"/>
              <a:gd name="connsiteX19" fmla="*/ 173260 w 295275"/>
              <a:gd name="connsiteY19" fmla="*/ 302990 h 381000"/>
              <a:gd name="connsiteX20" fmla="*/ 216599 w 295275"/>
              <a:gd name="connsiteY20" fmla="*/ 302990 h 381000"/>
              <a:gd name="connsiteX21" fmla="*/ 216599 w 295275"/>
              <a:gd name="connsiteY21" fmla="*/ 302990 h 381000"/>
              <a:gd name="connsiteX22" fmla="*/ 237173 w 295275"/>
              <a:gd name="connsiteY22" fmla="*/ 280416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95275" h="381000">
                <a:moveTo>
                  <a:pt x="237173" y="280416"/>
                </a:moveTo>
                <a:cubicBezTo>
                  <a:pt x="263366" y="259652"/>
                  <a:pt x="303086" y="228314"/>
                  <a:pt x="303086" y="151543"/>
                </a:cubicBezTo>
                <a:cubicBezTo>
                  <a:pt x="303086" y="67818"/>
                  <a:pt x="235268" y="0"/>
                  <a:pt x="151543" y="0"/>
                </a:cubicBezTo>
                <a:cubicBezTo>
                  <a:pt x="67818" y="0"/>
                  <a:pt x="0" y="67818"/>
                  <a:pt x="0" y="151448"/>
                </a:cubicBezTo>
                <a:cubicBezTo>
                  <a:pt x="0" y="228219"/>
                  <a:pt x="39624" y="259556"/>
                  <a:pt x="65913" y="280321"/>
                </a:cubicBezTo>
                <a:cubicBezTo>
                  <a:pt x="80010" y="291465"/>
                  <a:pt x="86582" y="297275"/>
                  <a:pt x="86582" y="302990"/>
                </a:cubicBezTo>
                <a:lnTo>
                  <a:pt x="86582" y="346329"/>
                </a:lnTo>
                <a:lnTo>
                  <a:pt x="129921" y="389668"/>
                </a:lnTo>
                <a:lnTo>
                  <a:pt x="129921" y="389668"/>
                </a:lnTo>
                <a:lnTo>
                  <a:pt x="173260" y="389668"/>
                </a:lnTo>
                <a:lnTo>
                  <a:pt x="216599" y="346329"/>
                </a:lnTo>
                <a:lnTo>
                  <a:pt x="130016" y="346329"/>
                </a:lnTo>
                <a:lnTo>
                  <a:pt x="130016" y="302990"/>
                </a:lnTo>
                <a:cubicBezTo>
                  <a:pt x="130016" y="275749"/>
                  <a:pt x="110300" y="260128"/>
                  <a:pt x="92869" y="246412"/>
                </a:cubicBezTo>
                <a:cubicBezTo>
                  <a:pt x="68580" y="227171"/>
                  <a:pt x="43434" y="207359"/>
                  <a:pt x="43434" y="151543"/>
                </a:cubicBezTo>
                <a:cubicBezTo>
                  <a:pt x="43434" y="91726"/>
                  <a:pt x="91916" y="43339"/>
                  <a:pt x="151638" y="43339"/>
                </a:cubicBezTo>
                <a:cubicBezTo>
                  <a:pt x="211360" y="43339"/>
                  <a:pt x="259842" y="91821"/>
                  <a:pt x="259842" y="151543"/>
                </a:cubicBezTo>
                <a:cubicBezTo>
                  <a:pt x="259842" y="207359"/>
                  <a:pt x="234696" y="227267"/>
                  <a:pt x="210407" y="246412"/>
                </a:cubicBezTo>
                <a:cubicBezTo>
                  <a:pt x="192977" y="260223"/>
                  <a:pt x="173260" y="275749"/>
                  <a:pt x="173260" y="302990"/>
                </a:cubicBezTo>
                <a:lnTo>
                  <a:pt x="173260" y="302990"/>
                </a:lnTo>
                <a:lnTo>
                  <a:pt x="216599" y="302990"/>
                </a:lnTo>
                <a:lnTo>
                  <a:pt x="216599" y="302990"/>
                </a:lnTo>
                <a:cubicBezTo>
                  <a:pt x="216503" y="297371"/>
                  <a:pt x="223075" y="291465"/>
                  <a:pt x="237173" y="280416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3AAF5124-BEEF-420E-B783-9EA7B7620F79}"/>
              </a:ext>
            </a:extLst>
          </p:cNvPr>
          <p:cNvGrpSpPr/>
          <p:nvPr userDrawn="1"/>
        </p:nvGrpSpPr>
        <p:grpSpPr>
          <a:xfrm>
            <a:off x="4849342" y="2484590"/>
            <a:ext cx="3953259" cy="4036139"/>
            <a:chOff x="5295433" y="2539631"/>
            <a:chExt cx="3953259" cy="4036139"/>
          </a:xfrm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C7792342-7787-40CE-B6C8-2F20E9415B98}"/>
                </a:ext>
              </a:extLst>
            </p:cNvPr>
            <p:cNvCxnSpPr>
              <a:cxnSpLocks/>
            </p:cNvCxnSpPr>
            <p:nvPr/>
          </p:nvCxnSpPr>
          <p:spPr>
            <a:xfrm>
              <a:off x="5295433" y="2898614"/>
              <a:ext cx="3931920" cy="0"/>
            </a:xfrm>
            <a:prstGeom prst="line">
              <a:avLst/>
            </a:prstGeom>
            <a:ln w="12700">
              <a:solidFill>
                <a:srgbClr val="285DB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9BF4216-9E59-49B6-A5BB-9B647E346A21}"/>
                </a:ext>
              </a:extLst>
            </p:cNvPr>
            <p:cNvCxnSpPr>
              <a:cxnSpLocks/>
            </p:cNvCxnSpPr>
            <p:nvPr/>
          </p:nvCxnSpPr>
          <p:spPr>
            <a:xfrm>
              <a:off x="5299733" y="3575961"/>
              <a:ext cx="3931920" cy="0"/>
            </a:xfrm>
            <a:prstGeom prst="line">
              <a:avLst/>
            </a:prstGeom>
            <a:ln w="12700">
              <a:solidFill>
                <a:srgbClr val="285DB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B5C0AAE9-714A-496B-BD26-BBDCCAB11402}"/>
                </a:ext>
              </a:extLst>
            </p:cNvPr>
            <p:cNvCxnSpPr>
              <a:cxnSpLocks/>
            </p:cNvCxnSpPr>
            <p:nvPr/>
          </p:nvCxnSpPr>
          <p:spPr>
            <a:xfrm>
              <a:off x="5306177" y="4306007"/>
              <a:ext cx="3931920" cy="0"/>
            </a:xfrm>
            <a:prstGeom prst="line">
              <a:avLst/>
            </a:prstGeom>
            <a:ln w="12700">
              <a:solidFill>
                <a:srgbClr val="285DB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021F2063-67F9-4D43-9699-2D26B9EFEABC}"/>
                </a:ext>
              </a:extLst>
            </p:cNvPr>
            <p:cNvCxnSpPr>
              <a:cxnSpLocks/>
            </p:cNvCxnSpPr>
            <p:nvPr/>
          </p:nvCxnSpPr>
          <p:spPr>
            <a:xfrm>
              <a:off x="5315987" y="5050894"/>
              <a:ext cx="3927713" cy="0"/>
            </a:xfrm>
            <a:prstGeom prst="line">
              <a:avLst/>
            </a:prstGeom>
            <a:ln w="12700">
              <a:solidFill>
                <a:srgbClr val="285DB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A0095AA5-0A6E-4C80-967B-59CF3944C5E9}"/>
                </a:ext>
              </a:extLst>
            </p:cNvPr>
            <p:cNvCxnSpPr>
              <a:cxnSpLocks/>
            </p:cNvCxnSpPr>
            <p:nvPr/>
          </p:nvCxnSpPr>
          <p:spPr>
            <a:xfrm>
              <a:off x="5316772" y="5884777"/>
              <a:ext cx="3931920" cy="0"/>
            </a:xfrm>
            <a:prstGeom prst="line">
              <a:avLst/>
            </a:prstGeom>
            <a:ln w="12700">
              <a:solidFill>
                <a:srgbClr val="285DB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A6EE2C1D-9530-4D20-8F3F-F2615EF7D733}"/>
                </a:ext>
              </a:extLst>
            </p:cNvPr>
            <p:cNvCxnSpPr/>
            <p:nvPr/>
          </p:nvCxnSpPr>
          <p:spPr>
            <a:xfrm>
              <a:off x="6687974" y="2906367"/>
              <a:ext cx="0" cy="658367"/>
            </a:xfrm>
            <a:prstGeom prst="line">
              <a:avLst/>
            </a:prstGeom>
            <a:ln w="12700">
              <a:solidFill>
                <a:srgbClr val="285DB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292E85A7-23DE-4979-A71A-8CCFEC9AAB64}"/>
                </a:ext>
              </a:extLst>
            </p:cNvPr>
            <p:cNvCxnSpPr/>
            <p:nvPr/>
          </p:nvCxnSpPr>
          <p:spPr>
            <a:xfrm>
              <a:off x="7944185" y="2906366"/>
              <a:ext cx="0" cy="658367"/>
            </a:xfrm>
            <a:prstGeom prst="line">
              <a:avLst/>
            </a:prstGeom>
            <a:ln w="12700">
              <a:solidFill>
                <a:srgbClr val="285DB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D8BC485E-76A6-4448-840E-BA7370D6CA8D}"/>
                </a:ext>
              </a:extLst>
            </p:cNvPr>
            <p:cNvCxnSpPr>
              <a:cxnSpLocks/>
            </p:cNvCxnSpPr>
            <p:nvPr/>
          </p:nvCxnSpPr>
          <p:spPr>
            <a:xfrm>
              <a:off x="6687974" y="3564734"/>
              <a:ext cx="0" cy="741273"/>
            </a:xfrm>
            <a:prstGeom prst="line">
              <a:avLst/>
            </a:prstGeom>
            <a:ln w="12700">
              <a:solidFill>
                <a:srgbClr val="285DB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AB111C02-39F9-42F3-BFD7-3F318C96EDA3}"/>
                </a:ext>
              </a:extLst>
            </p:cNvPr>
            <p:cNvCxnSpPr>
              <a:cxnSpLocks/>
            </p:cNvCxnSpPr>
            <p:nvPr/>
          </p:nvCxnSpPr>
          <p:spPr>
            <a:xfrm>
              <a:off x="7944185" y="3564733"/>
              <a:ext cx="0" cy="741274"/>
            </a:xfrm>
            <a:prstGeom prst="line">
              <a:avLst/>
            </a:prstGeom>
            <a:ln w="12700">
              <a:solidFill>
                <a:srgbClr val="285DB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B758164-F180-44E0-BC81-FE0EE027B8DE}"/>
                </a:ext>
              </a:extLst>
            </p:cNvPr>
            <p:cNvCxnSpPr>
              <a:cxnSpLocks/>
            </p:cNvCxnSpPr>
            <p:nvPr/>
          </p:nvCxnSpPr>
          <p:spPr>
            <a:xfrm>
              <a:off x="6687974" y="4306008"/>
              <a:ext cx="0" cy="741273"/>
            </a:xfrm>
            <a:prstGeom prst="line">
              <a:avLst/>
            </a:prstGeom>
            <a:ln w="12700">
              <a:solidFill>
                <a:srgbClr val="285DB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408AACAF-1770-41FC-989F-58F323169494}"/>
                </a:ext>
              </a:extLst>
            </p:cNvPr>
            <p:cNvCxnSpPr>
              <a:cxnSpLocks/>
            </p:cNvCxnSpPr>
            <p:nvPr/>
          </p:nvCxnSpPr>
          <p:spPr>
            <a:xfrm>
              <a:off x="7944185" y="4306007"/>
              <a:ext cx="0" cy="741274"/>
            </a:xfrm>
            <a:prstGeom prst="line">
              <a:avLst/>
            </a:prstGeom>
            <a:ln w="12700">
              <a:solidFill>
                <a:srgbClr val="285DB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E55B26C0-B353-4F45-9A8D-092082B3DF02}"/>
                </a:ext>
              </a:extLst>
            </p:cNvPr>
            <p:cNvCxnSpPr>
              <a:cxnSpLocks/>
            </p:cNvCxnSpPr>
            <p:nvPr/>
          </p:nvCxnSpPr>
          <p:spPr>
            <a:xfrm>
              <a:off x="6687974" y="4939776"/>
              <a:ext cx="0" cy="945001"/>
            </a:xfrm>
            <a:prstGeom prst="line">
              <a:avLst/>
            </a:prstGeom>
            <a:ln w="12700">
              <a:solidFill>
                <a:srgbClr val="285DB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0450C1AB-5774-46F4-BB60-9551B547B2D4}"/>
                </a:ext>
              </a:extLst>
            </p:cNvPr>
            <p:cNvCxnSpPr>
              <a:cxnSpLocks/>
            </p:cNvCxnSpPr>
            <p:nvPr/>
          </p:nvCxnSpPr>
          <p:spPr>
            <a:xfrm>
              <a:off x="7944185" y="5047281"/>
              <a:ext cx="0" cy="837496"/>
            </a:xfrm>
            <a:prstGeom prst="line">
              <a:avLst/>
            </a:prstGeom>
            <a:ln w="12700">
              <a:solidFill>
                <a:srgbClr val="285DB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029CD96F-9274-43A1-B493-3F2BE017C787}"/>
                </a:ext>
              </a:extLst>
            </p:cNvPr>
            <p:cNvCxnSpPr>
              <a:cxnSpLocks/>
            </p:cNvCxnSpPr>
            <p:nvPr/>
          </p:nvCxnSpPr>
          <p:spPr>
            <a:xfrm>
              <a:off x="6687974" y="5630769"/>
              <a:ext cx="0" cy="945001"/>
            </a:xfrm>
            <a:prstGeom prst="line">
              <a:avLst/>
            </a:prstGeom>
            <a:ln w="12700">
              <a:solidFill>
                <a:srgbClr val="285DB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ABF476BB-FA51-464C-8A35-5841C3A730B3}"/>
                </a:ext>
              </a:extLst>
            </p:cNvPr>
            <p:cNvCxnSpPr>
              <a:cxnSpLocks/>
            </p:cNvCxnSpPr>
            <p:nvPr/>
          </p:nvCxnSpPr>
          <p:spPr>
            <a:xfrm>
              <a:off x="7944185" y="5738274"/>
              <a:ext cx="0" cy="837496"/>
            </a:xfrm>
            <a:prstGeom prst="line">
              <a:avLst/>
            </a:prstGeom>
            <a:ln w="12700">
              <a:solidFill>
                <a:srgbClr val="285DB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39E924DD-90D1-4F5F-817C-EE991F4C41B6}"/>
                </a:ext>
              </a:extLst>
            </p:cNvPr>
            <p:cNvSpPr txBox="1"/>
            <p:nvPr/>
          </p:nvSpPr>
          <p:spPr>
            <a:xfrm>
              <a:off x="5455951" y="2539631"/>
              <a:ext cx="888385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Semibold" panose="020B0703030202060203" pitchFamily="34" charset="0"/>
                  <a:ea typeface="+mn-ea"/>
                  <a:cs typeface="+mn-cs"/>
                </a:rPr>
                <a:t>METRIC</a:t>
              </a:r>
            </a:p>
          </p:txBody>
        </p:sp>
      </p:grpSp>
      <p:sp>
        <p:nvSpPr>
          <p:cNvPr id="85" name="Rectangle 84">
            <a:extLst>
              <a:ext uri="{FF2B5EF4-FFF2-40B4-BE49-F238E27FC236}">
                <a16:creationId xmlns:a16="http://schemas.microsoft.com/office/drawing/2014/main" id="{D3D75384-959D-471E-89AD-4BBE276FA1AC}"/>
              </a:ext>
            </a:extLst>
          </p:cNvPr>
          <p:cNvSpPr/>
          <p:nvPr userDrawn="1"/>
        </p:nvSpPr>
        <p:spPr>
          <a:xfrm>
            <a:off x="4840164" y="2501118"/>
            <a:ext cx="3931920" cy="338980"/>
          </a:xfrm>
          <a:prstGeom prst="rect">
            <a:avLst/>
          </a:prstGeom>
          <a:gradFill flip="none" rotWithShape="1">
            <a:gsLst>
              <a:gs pos="0">
                <a:srgbClr val="481A88"/>
              </a:gs>
              <a:gs pos="55000">
                <a:srgbClr val="2564B6"/>
              </a:gs>
              <a:gs pos="100000">
                <a:srgbClr val="2368B9"/>
              </a:gs>
              <a:gs pos="100000">
                <a:srgbClr val="00AEE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7153035D-1D15-43A8-A53D-625762F13BE0}"/>
              </a:ext>
            </a:extLst>
          </p:cNvPr>
          <p:cNvSpPr txBox="1">
            <a:spLocks/>
          </p:cNvSpPr>
          <p:nvPr userDrawn="1"/>
        </p:nvSpPr>
        <p:spPr>
          <a:xfrm>
            <a:off x="93965" y="6650304"/>
            <a:ext cx="3059434" cy="2063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787270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385200" y="1429200"/>
            <a:ext cx="11398812" cy="4590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38440836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DA8D64D-970D-4C5E-BB1E-1FB93A403046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293176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up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2800" b="1">
                <a:solidFill>
                  <a:schemeClr val="bg1"/>
                </a:solidFill>
              </a:rPr>
              <a:t>Backup</a:t>
            </a:r>
            <a:r>
              <a:rPr lang="en-US" sz="2800" b="1" baseline="0">
                <a:solidFill>
                  <a:schemeClr val="bg1"/>
                </a:solidFill>
              </a:rPr>
              <a:t> Slides</a:t>
            </a:r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76DDEB-2A5A-45E8-8962-4A0636E7E6E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899088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EMEX G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6717BA-4D47-48CB-B42D-499B8A6EA3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85348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6717BA-4D47-48CB-B42D-499B8A6EA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8FB6AD04-C6D2-4EEF-90AD-757B74AEE3E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24D0B43-D66A-4C03-9AB7-223251009A8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08327214-6AC8-4B91-8C14-1CAEA13BBEE3}"/>
              </a:ext>
            </a:extLst>
          </p:cNvPr>
          <p:cNvSpPr/>
          <p:nvPr/>
        </p:nvSpPr>
        <p:spPr>
          <a:xfrm>
            <a:off x="10424161" y="3027965"/>
            <a:ext cx="165224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Faculty of Health Sciences, Spain</a:t>
            </a:r>
            <a:endParaRPr lang="en-GB" sz="600" kern="120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96E820-7566-42F5-A170-23E8AA9F4F31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1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EMEX Go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03DA3CD-8D6F-47A6-A618-5F46AD7BD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F3D8756-4D68-4B8A-868A-FA6887E932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AA646AD6-C39D-43C0-8C01-B30AB40547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6AE071B-C75F-43BF-9C75-313D25FBCC2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C834E24-4F03-47A6-95C5-947C4B352FD3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9421917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H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2913981-C25D-488E-B70C-BC831C0143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72680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2913981-C25D-488E-B70C-BC831C0143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43481FA-6BF6-419F-B145-7E068B9CB72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5A54F2B-0F80-4781-9999-A56E18B03C2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828D2C2-86BC-465A-8AF0-65159A90327B}"/>
              </a:ext>
            </a:extLst>
          </p:cNvPr>
          <p:cNvSpPr/>
          <p:nvPr/>
        </p:nvSpPr>
        <p:spPr>
          <a:xfrm>
            <a:off x="10872624" y="3027963"/>
            <a:ext cx="1354863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otel Steigenberger, Germany</a:t>
            </a:r>
            <a:endParaRPr lang="en-GB" sz="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2141B45-355C-43FB-80F1-8A8591BF7331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dark blue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OHR</a:t>
            </a:r>
            <a:endParaRPr lang="en-GB" sz="1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BEF0DCC-257A-409D-9F9B-6D55E7DFA8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030E5A9-863F-4FED-9B03-0A86E9032E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F565DA-0E9E-41C4-AB0A-B7390B2BC04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E714ACA-5423-464A-A9AE-0E796DA40A1D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441425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alth &amp; Safet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0DE0D5-4FCA-41B4-B27D-1979F84A99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96613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0DE0D5-4FCA-41B4-B27D-1979F84A99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C4396E2-DD38-421F-9138-7416F7C027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DF2511B-6CCF-4F36-AF42-0FC52921813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71B651F-F486-4B48-94B4-D76AB9E6DF6C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7F319ED-9C75-4D90-8D7E-31374790A6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4A81044-42C6-432C-9764-86A3FEBA8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EC9D6B0-CCAD-4230-8C54-781E769F8F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AE994B0-AAF9-48A1-B263-0D7C9B7427C3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  <a:effectLst/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Health &amp; Safety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440597-434B-4CB2-A580-DE76D78DBE5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CF58BCC-3007-4530-87A3-2E2D7B6DFF09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7221110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S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E6FD71-7FD8-4F9D-BF93-20ACCC781B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60069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7E6FD71-7FD8-4F9D-BF93-20ACCC781B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2BA18646-6C9F-4E24-8320-A15ACE62DF8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D454D26-80A7-43CA-869F-034C36C6FE7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1322C09-D45B-4DA8-B2FB-36CCCE2A76E9}"/>
              </a:ext>
            </a:extLst>
          </p:cNvPr>
          <p:cNvSpPr/>
          <p:nvPr/>
        </p:nvSpPr>
        <p:spPr>
          <a:xfrm>
            <a:off x="10604500" y="3027964"/>
            <a:ext cx="147190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ercules Towers, Spain</a:t>
            </a:r>
            <a:endParaRPr lang="en-GB" sz="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60C6543-E93E-4BEA-BA47-85D21E3F237D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EAF872C-27BB-4554-87BC-C35482CA38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F4487BD1-4042-4D65-872E-DB93BFD558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FE1F258C-A6CF-4BD3-A4DA-95B091E347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dark blue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CCEC798-25DB-4491-9BFF-9FA1B60BFE24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GSO</a:t>
            </a:r>
            <a:endParaRPr lang="en-GB" sz="1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C8321B1-D5EF-4403-A20B-A0F3E7FC572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9E64BB5-083E-4DA9-A0DE-C9EEFAC87F32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935365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rp. Comm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DA77A3-A251-49D4-8BF7-62F1007488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22210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DA77A3-A251-49D4-8BF7-62F1007488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F92A5D3A-517B-4CBD-8F7A-C79403B019FC}"/>
              </a:ext>
            </a:extLst>
          </p:cNvPr>
          <p:cNvSpPr/>
          <p:nvPr/>
        </p:nvSpPr>
        <p:spPr>
          <a:xfrm>
            <a:off x="0" y="2381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3D84F07-CBBD-414E-BA08-AD5D9A43E27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AE6FD63-81CA-4CFB-B890-D673FC430F6C}"/>
              </a:ext>
            </a:extLst>
          </p:cNvPr>
          <p:cNvSpPr/>
          <p:nvPr/>
        </p:nvSpPr>
        <p:spPr>
          <a:xfrm>
            <a:off x="10582772" y="3027963"/>
            <a:ext cx="1493638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Torre Reforma, Mexico</a:t>
            </a:r>
            <a:endParaRPr lang="en-GB" sz="600" kern="1200">
              <a:solidFill>
                <a:schemeClr val="bg1">
                  <a:lumMod val="6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6187102-C38F-4A79-8D48-FA79AC0C4CA1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orp. Comms &amp; Public Affairs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0246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M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987074-8074-4657-A07E-1260F30C59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42689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987074-8074-4657-A07E-1260F30C5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523D8F9-D71B-4406-BDF5-11DF4566F1A4}"/>
              </a:ext>
            </a:extLst>
          </p:cNvPr>
          <p:cNvSpPr/>
          <p:nvPr/>
        </p:nvSpPr>
        <p:spPr>
          <a:xfrm>
            <a:off x="0" y="14068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8C5F6E4-5CF6-412B-98BC-BFAB25A35E9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BA4F6E8-6DDC-454F-812A-17B4C5EE6F29}"/>
              </a:ext>
            </a:extLst>
          </p:cNvPr>
          <p:cNvSpPr/>
          <p:nvPr/>
        </p:nvSpPr>
        <p:spPr>
          <a:xfrm>
            <a:off x="10249470" y="3027963"/>
            <a:ext cx="182694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Tahoma" charset="0"/>
                <a:cs typeface="Tahoma" charset="0"/>
              </a:rPr>
              <a:t>Therapeutic pools, Puerto Rico</a:t>
            </a:r>
            <a:endParaRPr lang="en-GB" sz="600" kern="1200">
              <a:solidFill>
                <a:schemeClr val="bg1">
                  <a:lumMod val="65000"/>
                </a:schemeClr>
              </a:solidFill>
              <a:latin typeface="+mn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037BA7-5428-46C1-A0D9-8248920BD9BE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VMO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3614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6273800"/>
            <a:ext cx="12192000" cy="587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 rot="10800000">
            <a:off x="0" y="0"/>
            <a:ext cx="12192000" cy="87754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875614"/>
            <a:ext cx="12191999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7600" y="1378800"/>
            <a:ext cx="10944000" cy="338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600" b="1" baseline="0">
                <a:solidFill>
                  <a:schemeClr val="tx1"/>
                </a:solidFill>
                <a:latin typeface="+mn-lt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 sz="1400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Topic 01 (Century Gothic 16, black </a:t>
            </a:r>
            <a:r>
              <a:rPr lang="mr-IN"/>
              <a:t>–</a:t>
            </a:r>
            <a:r>
              <a:rPr lang="en-US"/>
              <a:t> bold)</a:t>
            </a:r>
          </a:p>
          <a:p>
            <a:pPr lvl="1"/>
            <a:r>
              <a:rPr lang="en-US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ubtopic 02 (Century Gothic 14, black)</a:t>
            </a:r>
          </a:p>
          <a:p>
            <a:pPr lvl="0"/>
            <a:endParaRPr lang="en-US"/>
          </a:p>
          <a:p>
            <a:pPr lvl="0"/>
            <a:r>
              <a:rPr lang="en-US"/>
              <a:t>Topic 02 (Century Gothic 16, black </a:t>
            </a:r>
            <a:r>
              <a:rPr lang="mr-IN"/>
              <a:t>–</a:t>
            </a:r>
            <a:r>
              <a:rPr lang="en-US"/>
              <a:t> bold)</a:t>
            </a:r>
          </a:p>
          <a:p>
            <a:pPr lvl="1"/>
            <a:r>
              <a:rPr lang="en-US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ubtopic 02 (Century Gothic 14, black)</a:t>
            </a:r>
          </a:p>
          <a:p>
            <a:pPr lvl="1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522000" y="205200"/>
            <a:ext cx="6094800" cy="52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E7AFE1-070F-4670-843F-4FEA0E13E65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00FEEE5-F522-401C-81E6-0C8A536204E9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7260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27068" y="3604590"/>
            <a:ext cx="10155298" cy="450573"/>
          </a:xfrm>
          <a:prstGeom prst="rect">
            <a:avLst/>
          </a:prstGeom>
        </p:spPr>
        <p:txBody>
          <a:bodyPr anchor="ctr"/>
          <a:lstStyle>
            <a:lvl1pPr>
              <a:defRPr sz="280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ain Title (Century Gothic 28, dark blue – bold)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-9317" y="6639563"/>
            <a:ext cx="6096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600" kern="1200" dirty="0">
                <a:solidFill>
                  <a:srgbClr val="8A95AC"/>
                </a:solidFill>
                <a:latin typeface="+mj-lt"/>
                <a:ea typeface="Tahoma" charset="0"/>
                <a:cs typeface="Tahoma" charset="0"/>
              </a:rPr>
              <a:t>Copyright © 2017-2019 CEMEX International Holding AG, Switzerland - Confidential Information</a:t>
            </a:r>
            <a:endParaRPr lang="en-GB" sz="600" kern="1200" dirty="0">
              <a:solidFill>
                <a:srgbClr val="8A95AC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27128" y="4073206"/>
            <a:ext cx="10155238" cy="31326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ubtitle (Century Gothic 20, dark blu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474" y="6317720"/>
            <a:ext cx="1249936" cy="506071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9" name="Rectangle 8"/>
          <p:cNvSpPr/>
          <p:nvPr userDrawn="1"/>
        </p:nvSpPr>
        <p:spPr>
          <a:xfrm>
            <a:off x="-4658" y="3180457"/>
            <a:ext cx="12201317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Rectangle 11"/>
          <p:cNvSpPr/>
          <p:nvPr userDrawn="1"/>
        </p:nvSpPr>
        <p:spPr>
          <a:xfrm>
            <a:off x="11037094" y="3027963"/>
            <a:ext cx="103931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Heydar Aliyev Center</a:t>
            </a:r>
            <a:endParaRPr lang="en-GB" sz="600" kern="1200" dirty="0">
              <a:solidFill>
                <a:schemeClr val="bg1">
                  <a:lumMod val="6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12971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" y="4"/>
          <a:ext cx="201553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201553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MX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80475" y="1508400"/>
            <a:ext cx="11033604" cy="4615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s-MX"/>
              <a:t>Click to edit Master text styles</a:t>
            </a:r>
          </a:p>
          <a:p>
            <a:pPr lvl="1"/>
            <a:r>
              <a:rPr lang="es-MX"/>
              <a:t>Second level</a:t>
            </a:r>
          </a:p>
          <a:p>
            <a:pPr lvl="2"/>
            <a:r>
              <a:rPr lang="es-MX"/>
              <a:t>Third level</a:t>
            </a:r>
          </a:p>
          <a:p>
            <a:pPr lvl="3"/>
            <a:r>
              <a:rPr lang="es-MX"/>
              <a:t>Fourth level</a:t>
            </a:r>
          </a:p>
          <a:p>
            <a:pPr lvl="4"/>
            <a:r>
              <a:rPr lang="es-MX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05218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&amp;I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65CA43-C0C9-42C2-BC91-76AA65391F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9187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365CA43-C0C9-42C2-BC91-76AA65391F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09FA73B6-0292-4B75-9D69-B1B5738C4C3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4204380-ACF8-4A7D-8A72-178AA473ACE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76B7AE8-D148-491C-A29F-1445E288E10B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6ABDFE8-296B-4562-B0A8-465BEE91338F}"/>
              </a:ext>
            </a:extLst>
          </p:cNvPr>
          <p:cNvSpPr/>
          <p:nvPr/>
        </p:nvSpPr>
        <p:spPr>
          <a:xfrm>
            <a:off x="10634786" y="3027963"/>
            <a:ext cx="1558642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Heydar </a:t>
            </a:r>
            <a:r>
              <a:rPr lang="en-US" sz="600" kern="1200" baseline="0" noProof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Aliyev 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Center, 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Tahoma" charset="0"/>
                <a:cs typeface="Tahoma" charset="0"/>
              </a:rPr>
              <a:t>Azerbaijan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 </a:t>
            </a:r>
            <a:endParaRPr lang="en-GB" sz="600" kern="120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Results Present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June 30, 2020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ustomer Experience Office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B6FFD06-96A7-47B8-BA64-E7E17C64205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FD8ABAD-93B6-44D2-8FFC-91A61203830E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04679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6273800"/>
            <a:ext cx="12192000" cy="587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 rot="10800000">
            <a:off x="0" y="0"/>
            <a:ext cx="12192000" cy="87754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875614"/>
            <a:ext cx="12191999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7600" y="1378800"/>
            <a:ext cx="10944000" cy="338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600" b="1" baseline="0">
                <a:solidFill>
                  <a:schemeClr val="tx1"/>
                </a:solidFill>
                <a:latin typeface="+mn-lt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 sz="1400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Topic 01 (Century Gothic 16, black </a:t>
            </a:r>
            <a:r>
              <a:rPr lang="mr-IN"/>
              <a:t>–</a:t>
            </a:r>
            <a:r>
              <a:rPr lang="en-US"/>
              <a:t> bold)</a:t>
            </a:r>
          </a:p>
          <a:p>
            <a:pPr lvl="1"/>
            <a:r>
              <a:rPr lang="en-US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ubtopic 02 (Century Gothic 14, black)</a:t>
            </a:r>
          </a:p>
          <a:p>
            <a:pPr lvl="0"/>
            <a:endParaRPr lang="en-US"/>
          </a:p>
          <a:p>
            <a:pPr lvl="0"/>
            <a:r>
              <a:rPr lang="en-US"/>
              <a:t>Topic 02 (Century Gothic 16, black </a:t>
            </a:r>
            <a:r>
              <a:rPr lang="mr-IN"/>
              <a:t>–</a:t>
            </a:r>
            <a:r>
              <a:rPr lang="en-US"/>
              <a:t> bold)</a:t>
            </a:r>
          </a:p>
          <a:p>
            <a:pPr lvl="1"/>
            <a:r>
              <a:rPr lang="en-US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ubtopic 02 (Century Gothic 14, black)</a:t>
            </a:r>
          </a:p>
          <a:p>
            <a:pPr lvl="1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522000" y="205200"/>
            <a:ext cx="6094800" cy="52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E7AFE1-070F-4670-843F-4FEA0E13E65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93D22DA-5AE7-4304-945A-0203BDB7A0AF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793930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2923200"/>
            <a:ext cx="11160000" cy="503999"/>
          </a:xfrm>
        </p:spPr>
        <p:txBody>
          <a:bodyPr anchor="ctr">
            <a:noAutofit/>
          </a:bodyPr>
          <a:lstStyle>
            <a:lvl1pPr>
              <a:defRPr sz="28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(Century Gothic 28, whit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3445200"/>
            <a:ext cx="11160125" cy="5080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000" b="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/>
              <a:t>Subtitle (Century Gothic 20, light blue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465600" y="378000"/>
            <a:ext cx="5230800" cy="503999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Main Title (Century Gothic 14, whit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FB04C49-5241-412D-8C3B-11A4A24811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4353" y="6250804"/>
            <a:ext cx="1313468" cy="63226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0A49DF8-E285-43B0-8413-0D4F0A08AB50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338615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</p:spTree>
    <p:extLst>
      <p:ext uri="{BB962C8B-B14F-4D97-AF65-F5344CB8AC3E}">
        <p14:creationId xmlns:p14="http://schemas.microsoft.com/office/powerpoint/2010/main" val="34956423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2637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1600" y="1436400"/>
            <a:ext cx="11402412" cy="4582800"/>
          </a:xfrm>
        </p:spPr>
        <p:txBody>
          <a:bodyPr/>
          <a:lstStyle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Main Text (Century Gothic 14, black)</a:t>
            </a:r>
          </a:p>
          <a:p>
            <a:pPr lvl="1"/>
            <a:r>
              <a:rPr lang="en-US"/>
              <a:t>Level 1 Bullet (Century Gothic 14, black </a:t>
            </a:r>
            <a:r>
              <a:rPr lang="mr-IN"/>
              <a:t>–</a:t>
            </a:r>
            <a:r>
              <a:rPr lang="en-US"/>
              <a:t> mid blue bullet)</a:t>
            </a:r>
          </a:p>
          <a:p>
            <a:pPr lvl="2"/>
            <a:r>
              <a:rPr lang="en-US"/>
              <a:t>Level 2 Bullet (Century Gothic 14, black </a:t>
            </a:r>
            <a:r>
              <a:rPr lang="mr-IN"/>
              <a:t>–</a:t>
            </a:r>
            <a:r>
              <a:rPr lang="en-US"/>
              <a:t> mid blue double arrow)</a:t>
            </a:r>
          </a:p>
          <a:p>
            <a:pPr lvl="3"/>
            <a:r>
              <a:rPr lang="en-US"/>
              <a:t>Level 3 Bullet (Century Gothic 12, black </a:t>
            </a:r>
            <a:r>
              <a:rPr lang="mr-IN"/>
              <a:t>–</a:t>
            </a:r>
            <a:r>
              <a:rPr lang="en-US"/>
              <a:t>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25493308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6400"/>
            <a:ext cx="5355200" cy="45828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</a:t>
            </a:r>
            <a:r>
              <a:rPr lang="en-US" kern="0"/>
              <a:t> 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51600" y="1432800"/>
            <a:ext cx="5331600" cy="45828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</a:t>
            </a:r>
            <a:r>
              <a:rPr lang="en-US" kern="0"/>
              <a:t> 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31873125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ion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en-US"/>
              <a:t>Title (Century Gothic 24, dark blue – bold)</a:t>
            </a:r>
            <a:endParaRPr lang="es-MX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29200"/>
            <a:ext cx="5355200" cy="478800"/>
          </a:xfrm>
        </p:spPr>
        <p:txBody>
          <a:bodyPr anchor="ctr"/>
          <a:lstStyle>
            <a:lvl1pP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5200" y="1929600"/>
            <a:ext cx="5355200" cy="40752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451600" y="1429200"/>
            <a:ext cx="5332412" cy="478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451600" y="1929600"/>
            <a:ext cx="5332412" cy="40752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37930699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2923200"/>
            <a:ext cx="11160000" cy="503999"/>
          </a:xfrm>
        </p:spPr>
        <p:txBody>
          <a:bodyPr anchor="ctr">
            <a:noAutofit/>
          </a:bodyPr>
          <a:lstStyle>
            <a:lvl1pPr>
              <a:defRPr sz="28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(Century Gothic 28, whit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3445200"/>
            <a:ext cx="11160125" cy="5080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000" b="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/>
              <a:t>Subtitle (Century Gothic 20, light blue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465600" y="378000"/>
            <a:ext cx="5230800" cy="503999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Main Title (Century Gothic 14, whit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FB04C49-5241-412D-8C3B-11A4A24811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4353" y="6250804"/>
            <a:ext cx="1313468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F01D04F-6D18-4FDD-86A0-0FFD85E965BF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8753646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2800"/>
            <a:ext cx="5355200" cy="45864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40400" y="1432800"/>
            <a:ext cx="5343612" cy="4716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440400" y="1965600"/>
            <a:ext cx="5343525" cy="4053600"/>
          </a:xfrm>
        </p:spPr>
        <p:txBody>
          <a:bodyPr/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3808267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40000"/>
            <a:ext cx="5331600" cy="4752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385200" y="1965600"/>
            <a:ext cx="5331600" cy="40536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ontent (Graph, Table, Image, etc.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505200" y="1440000"/>
            <a:ext cx="5278812" cy="45936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20936870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385200" y="1429200"/>
            <a:ext cx="11398812" cy="4590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9202041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3418A2-1568-47E8-9BB3-57BBCA877562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37189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up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2800" b="1">
                <a:solidFill>
                  <a:schemeClr val="bg1"/>
                </a:solidFill>
              </a:rPr>
              <a:t>Backup</a:t>
            </a:r>
            <a:r>
              <a:rPr lang="en-US" sz="2800" b="1" baseline="0">
                <a:solidFill>
                  <a:schemeClr val="bg1"/>
                </a:solidFill>
              </a:rPr>
              <a:t> Slides</a:t>
            </a:r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750B74-BE76-4387-8350-6825F97A46E0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261458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EMEX G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6717BA-4D47-48CB-B42D-499B8A6EA3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3631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6717BA-4D47-48CB-B42D-499B8A6EA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8FB6AD04-C6D2-4EEF-90AD-757B74AEE3E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24D0B43-D66A-4C03-9AB7-223251009A8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08327214-6AC8-4B91-8C14-1CAEA13BBEE3}"/>
              </a:ext>
            </a:extLst>
          </p:cNvPr>
          <p:cNvSpPr/>
          <p:nvPr/>
        </p:nvSpPr>
        <p:spPr>
          <a:xfrm>
            <a:off x="10424161" y="3027965"/>
            <a:ext cx="165224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Faculty of Health Sciences, Spain</a:t>
            </a:r>
            <a:endParaRPr lang="en-GB" sz="600" kern="120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96E820-7566-42F5-A170-23E8AA9F4F31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1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EMEX Go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03DA3CD-8D6F-47A6-A618-5F46AD7BD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F3D8756-4D68-4B8A-868A-FA6887E932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AA646AD6-C39D-43C0-8C01-B30AB40547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6AE071B-C75F-43BF-9C75-313D25FBCC2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239FA39-1662-4E98-A6C0-DE09635AAD7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528508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H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2913981-C25D-488E-B70C-BC831C0143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7711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2913981-C25D-488E-B70C-BC831C0143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43481FA-6BF6-419F-B145-7E068B9CB72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5A54F2B-0F80-4781-9999-A56E18B03C2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828D2C2-86BC-465A-8AF0-65159A90327B}"/>
              </a:ext>
            </a:extLst>
          </p:cNvPr>
          <p:cNvSpPr/>
          <p:nvPr/>
        </p:nvSpPr>
        <p:spPr>
          <a:xfrm>
            <a:off x="10872624" y="3027963"/>
            <a:ext cx="1354863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otel Steigenberger, Germany</a:t>
            </a:r>
            <a:endParaRPr lang="en-GB" sz="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2141B45-355C-43FB-80F1-8A8591BF7331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dark blue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OHR</a:t>
            </a:r>
            <a:endParaRPr lang="en-GB" sz="1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BEF0DCC-257A-409D-9F9B-6D55E7DFA8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030E5A9-863F-4FED-9B03-0A86E9032E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F565DA-0E9E-41C4-AB0A-B7390B2BC04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8030F69-E392-479A-BFE1-3D0E93ECA623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8636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alth &amp; Safet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0DE0D5-4FCA-41B4-B27D-1979F84A99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5551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0DE0D5-4FCA-41B4-B27D-1979F84A99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C4396E2-DD38-421F-9138-7416F7C027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DF2511B-6CCF-4F36-AF42-0FC52921813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71B651F-F486-4B48-94B4-D76AB9E6DF6C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7F319ED-9C75-4D90-8D7E-31374790A6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4A81044-42C6-432C-9764-86A3FEBA8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EC9D6B0-CCAD-4230-8C54-781E769F8F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AE994B0-AAF9-48A1-B263-0D7C9B7427C3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  <a:effectLst/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Health &amp; Safety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440597-434B-4CB2-A580-DE76D78DBE5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FBEFBD8-430C-4707-8363-A9D061E3774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631494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S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E6FD71-7FD8-4F9D-BF93-20ACCC781B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9618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7E6FD71-7FD8-4F9D-BF93-20ACCC781B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2BA18646-6C9F-4E24-8320-A15ACE62DF8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D454D26-80A7-43CA-869F-034C36C6FE7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1322C09-D45B-4DA8-B2FB-36CCCE2A76E9}"/>
              </a:ext>
            </a:extLst>
          </p:cNvPr>
          <p:cNvSpPr/>
          <p:nvPr/>
        </p:nvSpPr>
        <p:spPr>
          <a:xfrm>
            <a:off x="10604500" y="3027964"/>
            <a:ext cx="147190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ercules Towers, Spain</a:t>
            </a:r>
            <a:endParaRPr lang="en-GB" sz="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60C6543-E93E-4BEA-BA47-85D21E3F237D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EAF872C-27BB-4554-87BC-C35482CA38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F4487BD1-4042-4D65-872E-DB93BFD558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FE1F258C-A6CF-4BD3-A4DA-95B091E347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dark blue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CCEC798-25DB-4491-9BFF-9FA1B60BFE24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GSO</a:t>
            </a:r>
            <a:endParaRPr lang="en-GB" sz="1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C8321B1-D5EF-4403-A20B-A0F3E7FC572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61DD449-A3E9-43E3-890A-283B326245A4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860052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rp. Comm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DA77A3-A251-49D4-8BF7-62F1007488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23098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DA77A3-A251-49D4-8BF7-62F1007488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F92A5D3A-517B-4CBD-8F7A-C79403B019FC}"/>
              </a:ext>
            </a:extLst>
          </p:cNvPr>
          <p:cNvSpPr/>
          <p:nvPr/>
        </p:nvSpPr>
        <p:spPr>
          <a:xfrm>
            <a:off x="0" y="2381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3D84F07-CBBD-414E-BA08-AD5D9A43E27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AE6FD63-81CA-4CFB-B890-D673FC430F6C}"/>
              </a:ext>
            </a:extLst>
          </p:cNvPr>
          <p:cNvSpPr/>
          <p:nvPr/>
        </p:nvSpPr>
        <p:spPr>
          <a:xfrm>
            <a:off x="10582772" y="3027963"/>
            <a:ext cx="1493638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Torre Reforma, Mexico</a:t>
            </a:r>
            <a:endParaRPr lang="en-GB" sz="600" kern="1200">
              <a:solidFill>
                <a:schemeClr val="bg1">
                  <a:lumMod val="6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6187102-C38F-4A79-8D48-FA79AC0C4CA1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orp. Comms &amp; Public Affairs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A4F112A-359B-4361-BDC9-201557F62AC2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185769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</p:spTree>
    <p:extLst>
      <p:ext uri="{BB962C8B-B14F-4D97-AF65-F5344CB8AC3E}">
        <p14:creationId xmlns:p14="http://schemas.microsoft.com/office/powerpoint/2010/main" val="2686077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M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987074-8074-4657-A07E-1260F30C59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43909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987074-8074-4657-A07E-1260F30C5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523D8F9-D71B-4406-BDF5-11DF4566F1A4}"/>
              </a:ext>
            </a:extLst>
          </p:cNvPr>
          <p:cNvSpPr/>
          <p:nvPr/>
        </p:nvSpPr>
        <p:spPr>
          <a:xfrm>
            <a:off x="0" y="14068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8C5F6E4-5CF6-412B-98BC-BFAB25A35E9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BA4F6E8-6DDC-454F-812A-17B4C5EE6F29}"/>
              </a:ext>
            </a:extLst>
          </p:cNvPr>
          <p:cNvSpPr/>
          <p:nvPr/>
        </p:nvSpPr>
        <p:spPr>
          <a:xfrm>
            <a:off x="10249470" y="3027963"/>
            <a:ext cx="182694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Tahoma" charset="0"/>
                <a:cs typeface="Tahoma" charset="0"/>
              </a:rPr>
              <a:t>Therapeutic pools, Puerto Rico</a:t>
            </a:r>
            <a:endParaRPr lang="en-GB" sz="600" kern="1200">
              <a:solidFill>
                <a:schemeClr val="bg1">
                  <a:lumMod val="65000"/>
                </a:schemeClr>
              </a:solidFill>
              <a:latin typeface="+mn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037BA7-5428-46C1-A0D9-8248920BD9BE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VMO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CCD93D2-7DC3-4747-9527-DDEA03E2529E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213894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1B53B-2DD3-4C84-B369-B43C7FB7E8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C67FE29-F454-41DD-BC87-8A3D4DC81D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1A65AA-8EAB-4A64-9095-290ABF7AD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1D19F9-CE89-4AB3-A426-E3B1094D701D}" type="datetimeFigureOut">
              <a:rPr lang="en-US" smtClean="0"/>
              <a:t>12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0D8754-9045-44D1-8859-63C6CD8DF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CFCB4F-FDBF-405D-8DA4-D2494CAADD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0C4D93-DD48-4914-ACBD-B5214242AF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2323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27068" y="3604590"/>
            <a:ext cx="10155298" cy="450573"/>
          </a:xfrm>
          <a:prstGeom prst="rect">
            <a:avLst/>
          </a:prstGeom>
        </p:spPr>
        <p:txBody>
          <a:bodyPr anchor="ctr"/>
          <a:lstStyle>
            <a:lvl1pPr>
              <a:defRPr sz="280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ain Title (Century Gothic 28, dark blue – bold)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-9317" y="6639563"/>
            <a:ext cx="6096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600" kern="1200" dirty="0">
                <a:solidFill>
                  <a:srgbClr val="8A95AC"/>
                </a:solidFill>
                <a:latin typeface="+mj-lt"/>
                <a:ea typeface="Tahoma" charset="0"/>
                <a:cs typeface="Tahoma" charset="0"/>
              </a:rPr>
              <a:t>Copyright © 2017-2019 CEMEX International Holding AG, Switzerland - Confidential Information</a:t>
            </a:r>
            <a:endParaRPr lang="en-GB" sz="600" kern="1200" dirty="0">
              <a:solidFill>
                <a:srgbClr val="8A95AC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27128" y="4073206"/>
            <a:ext cx="10155238" cy="31326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ubtitle (Century Gothic 20, dark blu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474" y="6317720"/>
            <a:ext cx="1249936" cy="506071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9" name="Rectangle 8"/>
          <p:cNvSpPr/>
          <p:nvPr userDrawn="1"/>
        </p:nvSpPr>
        <p:spPr>
          <a:xfrm>
            <a:off x="-4658" y="3180457"/>
            <a:ext cx="12201317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Rectangle 11"/>
          <p:cNvSpPr/>
          <p:nvPr userDrawn="1"/>
        </p:nvSpPr>
        <p:spPr>
          <a:xfrm>
            <a:off x="11037094" y="3027963"/>
            <a:ext cx="103931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Heydar Aliyev Center</a:t>
            </a:r>
            <a:endParaRPr lang="en-GB" sz="600" kern="1200" dirty="0">
              <a:solidFill>
                <a:schemeClr val="bg1">
                  <a:lumMod val="6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4604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&amp;I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65CA43-C0C9-42C2-BC91-76AA65391F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057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365CA43-C0C9-42C2-BC91-76AA65391F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09FA73B6-0292-4B75-9D69-B1B5738C4C3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4204380-ACF8-4A7D-8A72-178AA473ACE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76B7AE8-D148-491C-A29F-1445E288E10B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6ABDFE8-296B-4562-B0A8-465BEE91338F}"/>
              </a:ext>
            </a:extLst>
          </p:cNvPr>
          <p:cNvSpPr/>
          <p:nvPr/>
        </p:nvSpPr>
        <p:spPr>
          <a:xfrm>
            <a:off x="10634786" y="3027963"/>
            <a:ext cx="1558642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Heydar </a:t>
            </a:r>
            <a:r>
              <a:rPr lang="en-US" sz="600" kern="1200" baseline="0" noProof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Aliyev 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Center, 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Tahoma" charset="0"/>
                <a:cs typeface="Tahoma" charset="0"/>
              </a:rPr>
              <a:t>Azerbaijan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 </a:t>
            </a:r>
            <a:endParaRPr lang="en-GB" sz="600" kern="120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Results Present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June 30, 2020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ustomer </a:t>
            </a:r>
            <a:r>
              <a:rPr lang="en-US" sz="1600" kern="1200" err="1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Experince</a:t>
            </a:r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 Office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B6FFD06-96A7-47B8-BA64-E7E17C64205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FD8ABAD-93B6-44D2-8FFC-91A61203830E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024735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6273800"/>
            <a:ext cx="12192000" cy="587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 rot="10800000">
            <a:off x="0" y="0"/>
            <a:ext cx="12192000" cy="87754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875614"/>
            <a:ext cx="12191999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7600" y="1378800"/>
            <a:ext cx="10944000" cy="338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600" b="1" baseline="0">
                <a:solidFill>
                  <a:schemeClr val="tx1"/>
                </a:solidFill>
                <a:latin typeface="+mn-lt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 sz="1400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Topic 01 (Century Gothic 16, black </a:t>
            </a:r>
            <a:r>
              <a:rPr lang="mr-IN"/>
              <a:t>–</a:t>
            </a:r>
            <a:r>
              <a:rPr lang="en-US"/>
              <a:t> bold)</a:t>
            </a:r>
          </a:p>
          <a:p>
            <a:pPr lvl="1"/>
            <a:r>
              <a:rPr lang="en-US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ubtopic 02 (Century Gothic 14, black)</a:t>
            </a:r>
          </a:p>
          <a:p>
            <a:pPr lvl="0"/>
            <a:endParaRPr lang="en-US"/>
          </a:p>
          <a:p>
            <a:pPr lvl="0"/>
            <a:r>
              <a:rPr lang="en-US"/>
              <a:t>Topic 02 (Century Gothic 16, black </a:t>
            </a:r>
            <a:r>
              <a:rPr lang="mr-IN"/>
              <a:t>–</a:t>
            </a:r>
            <a:r>
              <a:rPr lang="en-US"/>
              <a:t> bold)</a:t>
            </a:r>
          </a:p>
          <a:p>
            <a:pPr lvl="1"/>
            <a:r>
              <a:rPr lang="en-US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ubtopic 02 (Century Gothic 14, black)</a:t>
            </a:r>
          </a:p>
          <a:p>
            <a:pPr lvl="1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522000" y="205200"/>
            <a:ext cx="6094800" cy="52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E7AFE1-070F-4670-843F-4FEA0E13E65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93D22DA-5AE7-4304-945A-0203BDB7A0AF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497677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2923200"/>
            <a:ext cx="11160000" cy="503999"/>
          </a:xfrm>
        </p:spPr>
        <p:txBody>
          <a:bodyPr anchor="ctr">
            <a:noAutofit/>
          </a:bodyPr>
          <a:lstStyle>
            <a:lvl1pPr>
              <a:defRPr sz="28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(Century Gothic 28, whit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3445200"/>
            <a:ext cx="11160125" cy="5080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000" b="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/>
              <a:t>Subtitle (Century Gothic 20, light blue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465600" y="378000"/>
            <a:ext cx="5230800" cy="503999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Main Title (Century Gothic 14, whit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FB04C49-5241-412D-8C3B-11A4A24811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4353" y="6250804"/>
            <a:ext cx="1313468" cy="63226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0A49DF8-E285-43B0-8413-0D4F0A08AB50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088960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</p:spTree>
    <p:extLst>
      <p:ext uri="{BB962C8B-B14F-4D97-AF65-F5344CB8AC3E}">
        <p14:creationId xmlns:p14="http://schemas.microsoft.com/office/powerpoint/2010/main" val="29575099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15833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1600" y="1436400"/>
            <a:ext cx="11402412" cy="4582800"/>
          </a:xfrm>
        </p:spPr>
        <p:txBody>
          <a:bodyPr/>
          <a:lstStyle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Main Text (Century Gothic 14, black)</a:t>
            </a:r>
          </a:p>
          <a:p>
            <a:pPr lvl="1"/>
            <a:r>
              <a:rPr lang="en-US"/>
              <a:t>Level 1 Bullet (Century Gothic 14, black </a:t>
            </a:r>
            <a:r>
              <a:rPr lang="mr-IN"/>
              <a:t>–</a:t>
            </a:r>
            <a:r>
              <a:rPr lang="en-US"/>
              <a:t> mid blue bullet)</a:t>
            </a:r>
          </a:p>
          <a:p>
            <a:pPr lvl="2"/>
            <a:r>
              <a:rPr lang="en-US"/>
              <a:t>Level 2 Bullet (Century Gothic 14, black </a:t>
            </a:r>
            <a:r>
              <a:rPr lang="mr-IN"/>
              <a:t>–</a:t>
            </a:r>
            <a:r>
              <a:rPr lang="en-US"/>
              <a:t> mid blue double arrow)</a:t>
            </a:r>
          </a:p>
          <a:p>
            <a:pPr lvl="3"/>
            <a:r>
              <a:rPr lang="en-US"/>
              <a:t>Level 3 Bullet (Century Gothic 12, black </a:t>
            </a:r>
            <a:r>
              <a:rPr lang="mr-IN"/>
              <a:t>–</a:t>
            </a:r>
            <a:r>
              <a:rPr lang="en-US"/>
              <a:t>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34856965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6400"/>
            <a:ext cx="5355200" cy="45828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</a:t>
            </a:r>
            <a:r>
              <a:rPr lang="en-US" kern="0"/>
              <a:t> 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51600" y="1432800"/>
            <a:ext cx="5331600" cy="45828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</a:t>
            </a:r>
            <a:r>
              <a:rPr lang="en-US" kern="0"/>
              <a:t> 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12700652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77179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ion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en-US"/>
              <a:t>Title (Century Gothic 24, dark blue – bold)</a:t>
            </a:r>
            <a:endParaRPr lang="es-MX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29200"/>
            <a:ext cx="5355200" cy="478800"/>
          </a:xfrm>
        </p:spPr>
        <p:txBody>
          <a:bodyPr anchor="ctr"/>
          <a:lstStyle>
            <a:lvl1pP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5200" y="1929600"/>
            <a:ext cx="5355200" cy="40752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451600" y="1429200"/>
            <a:ext cx="5332412" cy="478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451600" y="1929600"/>
            <a:ext cx="5332412" cy="40752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4066317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2800"/>
            <a:ext cx="5355200" cy="45864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40400" y="1432800"/>
            <a:ext cx="5343612" cy="4716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440400" y="1965600"/>
            <a:ext cx="5343525" cy="4053600"/>
          </a:xfrm>
        </p:spPr>
        <p:txBody>
          <a:bodyPr/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2512311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40000"/>
            <a:ext cx="5331600" cy="4752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385200" y="1965600"/>
            <a:ext cx="5331600" cy="40536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ontent (Graph, Table, Image, etc.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505200" y="1440000"/>
            <a:ext cx="5278812" cy="45936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28281182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385200" y="1429200"/>
            <a:ext cx="11398812" cy="4590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1452034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3418A2-1568-47E8-9BB3-57BBCA877562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54605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up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2800" b="1">
                <a:solidFill>
                  <a:schemeClr val="bg1"/>
                </a:solidFill>
              </a:rPr>
              <a:t>Backup</a:t>
            </a:r>
            <a:r>
              <a:rPr lang="en-US" sz="2800" b="1" baseline="0">
                <a:solidFill>
                  <a:schemeClr val="bg1"/>
                </a:solidFill>
              </a:rPr>
              <a:t> Slides</a:t>
            </a:r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750B74-BE76-4387-8350-6825F97A46E0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4035839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EMEX G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6717BA-4D47-48CB-B42D-499B8A6EA3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55905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6717BA-4D47-48CB-B42D-499B8A6EA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8FB6AD04-C6D2-4EEF-90AD-757B74AEE3E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24D0B43-D66A-4C03-9AB7-223251009A8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08327214-6AC8-4B91-8C14-1CAEA13BBEE3}"/>
              </a:ext>
            </a:extLst>
          </p:cNvPr>
          <p:cNvSpPr/>
          <p:nvPr/>
        </p:nvSpPr>
        <p:spPr>
          <a:xfrm>
            <a:off x="10424161" y="3027965"/>
            <a:ext cx="165224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Faculty of Health Sciences, Spain</a:t>
            </a:r>
            <a:endParaRPr lang="en-GB" sz="600" kern="120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96E820-7566-42F5-A170-23E8AA9F4F31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1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EMEX Go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03DA3CD-8D6F-47A6-A618-5F46AD7BD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F3D8756-4D68-4B8A-868A-FA6887E932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AA646AD6-C39D-43C0-8C01-B30AB40547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6AE071B-C75F-43BF-9C75-313D25FBCC2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239FA39-1662-4E98-A6C0-DE09635AAD7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502198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H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2913981-C25D-488E-B70C-BC831C0143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6066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2913981-C25D-488E-B70C-BC831C0143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43481FA-6BF6-419F-B145-7E068B9CB72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5A54F2B-0F80-4781-9999-A56E18B03C2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828D2C2-86BC-465A-8AF0-65159A90327B}"/>
              </a:ext>
            </a:extLst>
          </p:cNvPr>
          <p:cNvSpPr/>
          <p:nvPr/>
        </p:nvSpPr>
        <p:spPr>
          <a:xfrm>
            <a:off x="10872624" y="3027963"/>
            <a:ext cx="1354863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otel Steigenberger, Germany</a:t>
            </a:r>
            <a:endParaRPr lang="en-GB" sz="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2141B45-355C-43FB-80F1-8A8591BF7331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dark blue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OHR</a:t>
            </a:r>
            <a:endParaRPr lang="en-GB" sz="1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BEF0DCC-257A-409D-9F9B-6D55E7DFA8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030E5A9-863F-4FED-9B03-0A86E9032E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F565DA-0E9E-41C4-AB0A-B7390B2BC04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8030F69-E392-479A-BFE1-3D0E93ECA623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21520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alth &amp; Safet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0DE0D5-4FCA-41B4-B27D-1979F84A99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3237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0DE0D5-4FCA-41B4-B27D-1979F84A99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C4396E2-DD38-421F-9138-7416F7C027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DF2511B-6CCF-4F36-AF42-0FC52921813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71B651F-F486-4B48-94B4-D76AB9E6DF6C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7F319ED-9C75-4D90-8D7E-31374790A6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4A81044-42C6-432C-9764-86A3FEBA8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EC9D6B0-CCAD-4230-8C54-781E769F8F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AE994B0-AAF9-48A1-B263-0D7C9B7427C3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  <a:effectLst/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Health &amp; Safety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440597-434B-4CB2-A580-DE76D78DBE5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FBEFBD8-430C-4707-8363-A9D061E3774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792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S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E6FD71-7FD8-4F9D-BF93-20ACCC781B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24004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7E6FD71-7FD8-4F9D-BF93-20ACCC781B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2BA18646-6C9F-4E24-8320-A15ACE62DF8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D454D26-80A7-43CA-869F-034C36C6FE7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1322C09-D45B-4DA8-B2FB-36CCCE2A76E9}"/>
              </a:ext>
            </a:extLst>
          </p:cNvPr>
          <p:cNvSpPr/>
          <p:nvPr/>
        </p:nvSpPr>
        <p:spPr>
          <a:xfrm>
            <a:off x="10604500" y="3027964"/>
            <a:ext cx="147190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ercules Towers, Spain</a:t>
            </a:r>
            <a:endParaRPr lang="en-GB" sz="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60C6543-E93E-4BEA-BA47-85D21E3F237D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EAF872C-27BB-4554-87BC-C35482CA38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F4487BD1-4042-4D65-872E-DB93BFD558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FE1F258C-A6CF-4BD3-A4DA-95B091E347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dark blue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CCEC798-25DB-4491-9BFF-9FA1B60BFE24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GSO</a:t>
            </a:r>
            <a:endParaRPr lang="en-GB" sz="1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C8321B1-D5EF-4403-A20B-A0F3E7FC572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61DD449-A3E9-43E3-890A-283B326245A4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81480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1600" y="1436400"/>
            <a:ext cx="11402412" cy="4582800"/>
          </a:xfrm>
        </p:spPr>
        <p:txBody>
          <a:bodyPr/>
          <a:lstStyle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Main Text (Century Gothic 14, black)</a:t>
            </a:r>
          </a:p>
          <a:p>
            <a:pPr lvl="1"/>
            <a:r>
              <a:rPr lang="en-US"/>
              <a:t>Level 1 Bullet (Century Gothic 14, black </a:t>
            </a:r>
            <a:r>
              <a:rPr lang="mr-IN"/>
              <a:t>–</a:t>
            </a:r>
            <a:r>
              <a:rPr lang="en-US"/>
              <a:t> mid blue bullet)</a:t>
            </a:r>
          </a:p>
          <a:p>
            <a:pPr lvl="2"/>
            <a:r>
              <a:rPr lang="en-US"/>
              <a:t>Level 2 Bullet (Century Gothic 14, black </a:t>
            </a:r>
            <a:r>
              <a:rPr lang="mr-IN"/>
              <a:t>–</a:t>
            </a:r>
            <a:r>
              <a:rPr lang="en-US"/>
              <a:t> mid blue double arrow)</a:t>
            </a:r>
          </a:p>
          <a:p>
            <a:pPr lvl="3"/>
            <a:r>
              <a:rPr lang="en-US"/>
              <a:t>Level 3 Bullet (Century Gothic 12, black </a:t>
            </a:r>
            <a:r>
              <a:rPr lang="mr-IN"/>
              <a:t>–</a:t>
            </a:r>
            <a:r>
              <a:rPr lang="en-US"/>
              <a:t>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295502632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rp. Comm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DA77A3-A251-49D4-8BF7-62F1007488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90023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DA77A3-A251-49D4-8BF7-62F1007488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F92A5D3A-517B-4CBD-8F7A-C79403B019FC}"/>
              </a:ext>
            </a:extLst>
          </p:cNvPr>
          <p:cNvSpPr/>
          <p:nvPr/>
        </p:nvSpPr>
        <p:spPr>
          <a:xfrm>
            <a:off x="0" y="2381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3D84F07-CBBD-414E-BA08-AD5D9A43E27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AE6FD63-81CA-4CFB-B890-D673FC430F6C}"/>
              </a:ext>
            </a:extLst>
          </p:cNvPr>
          <p:cNvSpPr/>
          <p:nvPr/>
        </p:nvSpPr>
        <p:spPr>
          <a:xfrm>
            <a:off x="10582772" y="3027963"/>
            <a:ext cx="1493638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Torre Reforma, Mexico</a:t>
            </a:r>
            <a:endParaRPr lang="en-GB" sz="600" kern="1200">
              <a:solidFill>
                <a:schemeClr val="bg1">
                  <a:lumMod val="6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6187102-C38F-4A79-8D48-FA79AC0C4CA1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orp. Comms &amp; Public Affairs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A4F112A-359B-4361-BDC9-201557F62AC2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412982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M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987074-8074-4657-A07E-1260F30C59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20221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987074-8074-4657-A07E-1260F30C5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523D8F9-D71B-4406-BDF5-11DF4566F1A4}"/>
              </a:ext>
            </a:extLst>
          </p:cNvPr>
          <p:cNvSpPr/>
          <p:nvPr/>
        </p:nvSpPr>
        <p:spPr>
          <a:xfrm>
            <a:off x="0" y="14068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8C5F6E4-5CF6-412B-98BC-BFAB25A35E9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BA4F6E8-6DDC-454F-812A-17B4C5EE6F29}"/>
              </a:ext>
            </a:extLst>
          </p:cNvPr>
          <p:cNvSpPr/>
          <p:nvPr/>
        </p:nvSpPr>
        <p:spPr>
          <a:xfrm>
            <a:off x="10249470" y="3027963"/>
            <a:ext cx="182694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Tahoma" charset="0"/>
                <a:cs typeface="Tahoma" charset="0"/>
              </a:rPr>
              <a:t>Therapeutic pools, Puerto Rico</a:t>
            </a:r>
            <a:endParaRPr lang="en-GB" sz="600" kern="1200">
              <a:solidFill>
                <a:schemeClr val="bg1">
                  <a:lumMod val="65000"/>
                </a:schemeClr>
              </a:solidFill>
              <a:latin typeface="+mn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037BA7-5428-46C1-A0D9-8248920BD9BE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VMO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CCD93D2-7DC3-4747-9527-DDEA03E2529E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9939444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&amp;I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65CA43-C0C9-42C2-BC91-76AA65391F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3335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365CA43-C0C9-42C2-BC91-76AA65391F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09FA73B6-0292-4B75-9D69-B1B5738C4C3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4204380-ACF8-4A7D-8A72-178AA473ACE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76B7AE8-D148-491C-A29F-1445E288E10B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6ABDFE8-296B-4562-B0A8-465BEE91338F}"/>
              </a:ext>
            </a:extLst>
          </p:cNvPr>
          <p:cNvSpPr/>
          <p:nvPr/>
        </p:nvSpPr>
        <p:spPr>
          <a:xfrm>
            <a:off x="10634786" y="3027963"/>
            <a:ext cx="1558642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Heydar </a:t>
            </a:r>
            <a:r>
              <a:rPr lang="en-US" sz="600" kern="1200" baseline="0" noProof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Aliyev 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Center, 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Tahoma" charset="0"/>
                <a:cs typeface="Tahoma" charset="0"/>
              </a:rPr>
              <a:t>Azerbaijan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 </a:t>
            </a:r>
            <a:endParaRPr lang="en-GB" sz="600" kern="120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Results Present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June 30, 2020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ustomer </a:t>
            </a:r>
            <a:r>
              <a:rPr lang="en-US" sz="1600" kern="1200" err="1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Experince</a:t>
            </a:r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 Office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B6FFD06-96A7-47B8-BA64-E7E17C64205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FD8ABAD-93B6-44D2-8FFC-91A61203830E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6371041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6273800"/>
            <a:ext cx="12192000" cy="587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 rot="10800000">
            <a:off x="0" y="0"/>
            <a:ext cx="12192000" cy="87754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875614"/>
            <a:ext cx="12191999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7600" y="1378800"/>
            <a:ext cx="10944000" cy="338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600" b="1" baseline="0">
                <a:solidFill>
                  <a:schemeClr val="tx1"/>
                </a:solidFill>
                <a:latin typeface="+mn-lt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 sz="1400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Topic 01 (Century Gothic 16, black </a:t>
            </a:r>
            <a:r>
              <a:rPr lang="mr-IN"/>
              <a:t>–</a:t>
            </a:r>
            <a:r>
              <a:rPr lang="en-US"/>
              <a:t> bold)</a:t>
            </a:r>
          </a:p>
          <a:p>
            <a:pPr lvl="1"/>
            <a:r>
              <a:rPr lang="en-US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ubtopic 02 (Century Gothic 14, black)</a:t>
            </a:r>
          </a:p>
          <a:p>
            <a:pPr lvl="0"/>
            <a:endParaRPr lang="en-US"/>
          </a:p>
          <a:p>
            <a:pPr lvl="0"/>
            <a:r>
              <a:rPr lang="en-US"/>
              <a:t>Topic 02 (Century Gothic 16, black </a:t>
            </a:r>
            <a:r>
              <a:rPr lang="mr-IN"/>
              <a:t>–</a:t>
            </a:r>
            <a:r>
              <a:rPr lang="en-US"/>
              <a:t> bold)</a:t>
            </a:r>
          </a:p>
          <a:p>
            <a:pPr lvl="1"/>
            <a:r>
              <a:rPr lang="en-US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ubtopic 02 (Century Gothic 14, black)</a:t>
            </a:r>
          </a:p>
          <a:p>
            <a:pPr lvl="1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522000" y="205200"/>
            <a:ext cx="6094800" cy="52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E7AFE1-070F-4670-843F-4FEA0E13E65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93D22DA-5AE7-4304-945A-0203BDB7A0AF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5797273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2923200"/>
            <a:ext cx="11160000" cy="503999"/>
          </a:xfrm>
        </p:spPr>
        <p:txBody>
          <a:bodyPr anchor="ctr">
            <a:noAutofit/>
          </a:bodyPr>
          <a:lstStyle>
            <a:lvl1pPr>
              <a:defRPr sz="28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(Century Gothic 28, whit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3445200"/>
            <a:ext cx="11160125" cy="5080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000" b="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/>
              <a:t>Subtitle (Century Gothic 20, light blue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465600" y="378000"/>
            <a:ext cx="5230800" cy="503999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Main Title (Century Gothic 14, whit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FB04C49-5241-412D-8C3B-11A4A24811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4353" y="6250804"/>
            <a:ext cx="1313468" cy="63226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0A49DF8-E285-43B0-8413-0D4F0A08AB50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5268872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</p:spTree>
    <p:extLst>
      <p:ext uri="{BB962C8B-B14F-4D97-AF65-F5344CB8AC3E}">
        <p14:creationId xmlns:p14="http://schemas.microsoft.com/office/powerpoint/2010/main" val="26976359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512370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1600" y="1436400"/>
            <a:ext cx="11402412" cy="4582800"/>
          </a:xfrm>
        </p:spPr>
        <p:txBody>
          <a:bodyPr/>
          <a:lstStyle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Main Text (Century Gothic 14, black)</a:t>
            </a:r>
          </a:p>
          <a:p>
            <a:pPr lvl="1"/>
            <a:r>
              <a:rPr lang="en-US"/>
              <a:t>Level 1 Bullet (Century Gothic 14, black </a:t>
            </a:r>
            <a:r>
              <a:rPr lang="mr-IN"/>
              <a:t>–</a:t>
            </a:r>
            <a:r>
              <a:rPr lang="en-US"/>
              <a:t> mid blue bullet)</a:t>
            </a:r>
          </a:p>
          <a:p>
            <a:pPr lvl="2"/>
            <a:r>
              <a:rPr lang="en-US"/>
              <a:t>Level 2 Bullet (Century Gothic 14, black </a:t>
            </a:r>
            <a:r>
              <a:rPr lang="mr-IN"/>
              <a:t>–</a:t>
            </a:r>
            <a:r>
              <a:rPr lang="en-US"/>
              <a:t> mid blue double arrow)</a:t>
            </a:r>
          </a:p>
          <a:p>
            <a:pPr lvl="3"/>
            <a:r>
              <a:rPr lang="en-US"/>
              <a:t>Level 3 Bullet (Century Gothic 12, black </a:t>
            </a:r>
            <a:r>
              <a:rPr lang="mr-IN"/>
              <a:t>–</a:t>
            </a:r>
            <a:r>
              <a:rPr lang="en-US"/>
              <a:t>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199345716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6400"/>
            <a:ext cx="5355200" cy="45828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</a:t>
            </a:r>
            <a:r>
              <a:rPr lang="en-US" kern="0"/>
              <a:t> 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51600" y="1432800"/>
            <a:ext cx="5331600" cy="45828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</a:t>
            </a:r>
            <a:r>
              <a:rPr lang="en-US" kern="0"/>
              <a:t> 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319419127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ion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en-US"/>
              <a:t>Title (Century Gothic 24, dark blue – bold)</a:t>
            </a:r>
            <a:endParaRPr lang="es-MX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29200"/>
            <a:ext cx="5355200" cy="478800"/>
          </a:xfrm>
        </p:spPr>
        <p:txBody>
          <a:bodyPr anchor="ctr"/>
          <a:lstStyle>
            <a:lvl1pP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5200" y="1929600"/>
            <a:ext cx="5355200" cy="40752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451600" y="1429200"/>
            <a:ext cx="5332412" cy="478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451600" y="1929600"/>
            <a:ext cx="5332412" cy="40752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13408639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6400"/>
            <a:ext cx="5355200" cy="45828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</a:t>
            </a:r>
            <a:r>
              <a:rPr lang="en-US" kern="0"/>
              <a:t> 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51600" y="1432800"/>
            <a:ext cx="5331600" cy="45828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</a:t>
            </a:r>
            <a:r>
              <a:rPr lang="en-US" kern="0"/>
              <a:t> 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14775055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2800"/>
            <a:ext cx="5355200" cy="45864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40400" y="1432800"/>
            <a:ext cx="5343612" cy="4716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440400" y="1965600"/>
            <a:ext cx="5343525" cy="4053600"/>
          </a:xfrm>
        </p:spPr>
        <p:txBody>
          <a:bodyPr/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3248308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40000"/>
            <a:ext cx="5331600" cy="4752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385200" y="1965600"/>
            <a:ext cx="5331600" cy="40536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ontent (Graph, Table, Image, etc.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505200" y="1440000"/>
            <a:ext cx="5278812" cy="45936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118944895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385200" y="1429200"/>
            <a:ext cx="11398812" cy="4590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1477754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3418A2-1568-47E8-9BB3-57BBCA877562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5404277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up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2800" b="1">
                <a:solidFill>
                  <a:schemeClr val="bg1"/>
                </a:solidFill>
              </a:rPr>
              <a:t>Backup</a:t>
            </a:r>
            <a:r>
              <a:rPr lang="en-US" sz="2800" b="1" baseline="0">
                <a:solidFill>
                  <a:schemeClr val="bg1"/>
                </a:solidFill>
              </a:rPr>
              <a:t> Slides</a:t>
            </a:r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750B74-BE76-4387-8350-6825F97A46E0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8202615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EMEX G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6717BA-4D47-48CB-B42D-499B8A6EA3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0451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6717BA-4D47-48CB-B42D-499B8A6EA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8FB6AD04-C6D2-4EEF-90AD-757B74AEE3E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24D0B43-D66A-4C03-9AB7-223251009A8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08327214-6AC8-4B91-8C14-1CAEA13BBEE3}"/>
              </a:ext>
            </a:extLst>
          </p:cNvPr>
          <p:cNvSpPr/>
          <p:nvPr/>
        </p:nvSpPr>
        <p:spPr>
          <a:xfrm>
            <a:off x="10424161" y="3027965"/>
            <a:ext cx="165224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Faculty of Health Sciences, Spain</a:t>
            </a:r>
            <a:endParaRPr lang="en-GB" sz="600" kern="120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96E820-7566-42F5-A170-23E8AA9F4F31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1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EMEX Go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03DA3CD-8D6F-47A6-A618-5F46AD7BD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F3D8756-4D68-4B8A-868A-FA6887E932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AA646AD6-C39D-43C0-8C01-B30AB40547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6AE071B-C75F-43BF-9C75-313D25FBCC2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239FA39-1662-4E98-A6C0-DE09635AAD7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480702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H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2913981-C25D-488E-B70C-BC831C0143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3744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2913981-C25D-488E-B70C-BC831C0143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43481FA-6BF6-419F-B145-7E068B9CB72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5A54F2B-0F80-4781-9999-A56E18B03C2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828D2C2-86BC-465A-8AF0-65159A90327B}"/>
              </a:ext>
            </a:extLst>
          </p:cNvPr>
          <p:cNvSpPr/>
          <p:nvPr/>
        </p:nvSpPr>
        <p:spPr>
          <a:xfrm>
            <a:off x="10872624" y="3027963"/>
            <a:ext cx="1354863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otel Steigenberger, Germany</a:t>
            </a:r>
            <a:endParaRPr lang="en-GB" sz="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2141B45-355C-43FB-80F1-8A8591BF7331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dark blue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OHR</a:t>
            </a:r>
            <a:endParaRPr lang="en-GB" sz="1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BEF0DCC-257A-409D-9F9B-6D55E7DFA8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030E5A9-863F-4FED-9B03-0A86E9032E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F565DA-0E9E-41C4-AB0A-B7390B2BC04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8030F69-E392-479A-BFE1-3D0E93ECA623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8068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alth &amp; Safet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0DE0D5-4FCA-41B4-B27D-1979F84A99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312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0DE0D5-4FCA-41B4-B27D-1979F84A99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C4396E2-DD38-421F-9138-7416F7C027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DF2511B-6CCF-4F36-AF42-0FC52921813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71B651F-F486-4B48-94B4-D76AB9E6DF6C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7F319ED-9C75-4D90-8D7E-31374790A6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4A81044-42C6-432C-9764-86A3FEBA8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EC9D6B0-CCAD-4230-8C54-781E769F8F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AE994B0-AAF9-48A1-B263-0D7C9B7427C3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  <a:effectLst/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Health &amp; Safety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440597-434B-4CB2-A580-DE76D78DBE5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FBEFBD8-430C-4707-8363-A9D061E3774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375988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S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E6FD71-7FD8-4F9D-BF93-20ACCC781B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5124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7E6FD71-7FD8-4F9D-BF93-20ACCC781B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2BA18646-6C9F-4E24-8320-A15ACE62DF8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D454D26-80A7-43CA-869F-034C36C6FE7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1322C09-D45B-4DA8-B2FB-36CCCE2A76E9}"/>
              </a:ext>
            </a:extLst>
          </p:cNvPr>
          <p:cNvSpPr/>
          <p:nvPr/>
        </p:nvSpPr>
        <p:spPr>
          <a:xfrm>
            <a:off x="10604500" y="3027964"/>
            <a:ext cx="147190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ercules Towers, Spain</a:t>
            </a:r>
            <a:endParaRPr lang="en-GB" sz="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60C6543-E93E-4BEA-BA47-85D21E3F237D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EAF872C-27BB-4554-87BC-C35482CA38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F4487BD1-4042-4D65-872E-DB93BFD558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FE1F258C-A6CF-4BD3-A4DA-95B091E347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dark blue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CCEC798-25DB-4491-9BFF-9FA1B60BFE24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GSO</a:t>
            </a:r>
            <a:endParaRPr lang="en-GB" sz="1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C8321B1-D5EF-4403-A20B-A0F3E7FC572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61DD449-A3E9-43E3-890A-283B326245A4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703466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rp. Comm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DA77A3-A251-49D4-8BF7-62F1007488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168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DA77A3-A251-49D4-8BF7-62F1007488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F92A5D3A-517B-4CBD-8F7A-C79403B019FC}"/>
              </a:ext>
            </a:extLst>
          </p:cNvPr>
          <p:cNvSpPr/>
          <p:nvPr/>
        </p:nvSpPr>
        <p:spPr>
          <a:xfrm>
            <a:off x="0" y="2381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3D84F07-CBBD-414E-BA08-AD5D9A43E27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AE6FD63-81CA-4CFB-B890-D673FC430F6C}"/>
              </a:ext>
            </a:extLst>
          </p:cNvPr>
          <p:cNvSpPr/>
          <p:nvPr/>
        </p:nvSpPr>
        <p:spPr>
          <a:xfrm>
            <a:off x="10582772" y="3027963"/>
            <a:ext cx="1493638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Torre Reforma, Mexico</a:t>
            </a:r>
            <a:endParaRPr lang="en-GB" sz="600" kern="1200">
              <a:solidFill>
                <a:schemeClr val="bg1">
                  <a:lumMod val="6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6187102-C38F-4A79-8D48-FA79AC0C4CA1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orp. Comms &amp; Public Affairs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A4F112A-359B-4361-BDC9-201557F62AC2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904740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ion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en-US"/>
              <a:t>Title (Century Gothic 24, dark blue – bold)</a:t>
            </a:r>
            <a:endParaRPr lang="es-MX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29200"/>
            <a:ext cx="5355200" cy="478800"/>
          </a:xfrm>
        </p:spPr>
        <p:txBody>
          <a:bodyPr anchor="ctr"/>
          <a:lstStyle>
            <a:lvl1pP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5200" y="1929600"/>
            <a:ext cx="5355200" cy="40752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451600" y="1429200"/>
            <a:ext cx="5332412" cy="478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451600" y="1929600"/>
            <a:ext cx="5332412" cy="40752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221594290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M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987074-8074-4657-A07E-1260F30C59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3465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987074-8074-4657-A07E-1260F30C5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523D8F9-D71B-4406-BDF5-11DF4566F1A4}"/>
              </a:ext>
            </a:extLst>
          </p:cNvPr>
          <p:cNvSpPr/>
          <p:nvPr/>
        </p:nvSpPr>
        <p:spPr>
          <a:xfrm>
            <a:off x="0" y="14068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8C5F6E4-5CF6-412B-98BC-BFAB25A35E9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BA4F6E8-6DDC-454F-812A-17B4C5EE6F29}"/>
              </a:ext>
            </a:extLst>
          </p:cNvPr>
          <p:cNvSpPr/>
          <p:nvPr/>
        </p:nvSpPr>
        <p:spPr>
          <a:xfrm>
            <a:off x="10249470" y="3027963"/>
            <a:ext cx="182694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Tahoma" charset="0"/>
                <a:cs typeface="Tahoma" charset="0"/>
              </a:rPr>
              <a:t>Therapeutic pools, Puerto Rico</a:t>
            </a:r>
            <a:endParaRPr lang="en-GB" sz="600" kern="1200">
              <a:solidFill>
                <a:schemeClr val="bg1">
                  <a:lumMod val="65000"/>
                </a:schemeClr>
              </a:solidFill>
              <a:latin typeface="+mn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037BA7-5428-46C1-A0D9-8248920BD9BE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VMO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CCD93D2-7DC3-4747-9527-DDEA03E2529E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1271716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&amp;I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A0B31C-0F70-426F-B180-0204D3C5B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A0B31C-0F70-426F-B180-0204D3C5B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8BC6AF38-CD1E-4928-B0E9-BA66D55FB29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3A600AD-F541-4793-8207-D1215956AA8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4D9669A2-AE0E-4628-B0AF-5A9820FAC0F3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B31A331-C7BB-4042-B201-864455669FD5}"/>
              </a:ext>
            </a:extLst>
          </p:cNvPr>
          <p:cNvSpPr/>
          <p:nvPr/>
        </p:nvSpPr>
        <p:spPr>
          <a:xfrm>
            <a:off x="10634786" y="3027963"/>
            <a:ext cx="1558642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Heydar </a:t>
            </a:r>
            <a:r>
              <a:rPr lang="en-US" sz="600" kern="1200" baseline="0" noProof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Aliyev 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Center, 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Tahoma" charset="0"/>
                <a:cs typeface="Tahoma" charset="0"/>
              </a:rPr>
              <a:t>Azerbaijan</a:t>
            </a:r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 </a:t>
            </a:r>
            <a:endParaRPr lang="en-GB" sz="600" kern="120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B6FFD06-96A7-47B8-BA64-E7E17C64205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D12542F-8C4D-4EC4-B453-168CF7D1F23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672644734"/>
      </p:ext>
    </p:extLst>
  </p:cSld>
  <p:clrMapOvr>
    <a:masterClrMapping/>
  </p:clrMapOvr>
  <p:hf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6273800"/>
            <a:ext cx="12192000" cy="587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 rot="10800000">
            <a:off x="0" y="0"/>
            <a:ext cx="12192000" cy="87754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875614"/>
            <a:ext cx="12191999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7600" y="1378800"/>
            <a:ext cx="10944000" cy="338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600" b="1" baseline="0">
                <a:solidFill>
                  <a:schemeClr val="tx1"/>
                </a:solidFill>
                <a:latin typeface="+mn-lt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 sz="1400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Topic 01 (Century Gothic 16, black </a:t>
            </a:r>
            <a:r>
              <a:rPr lang="mr-IN"/>
              <a:t>–</a:t>
            </a:r>
            <a:r>
              <a:rPr lang="en-US"/>
              <a:t> bold)</a:t>
            </a:r>
          </a:p>
          <a:p>
            <a:pPr lvl="1"/>
            <a:r>
              <a:rPr lang="en-US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ubtopic 02 (Century Gothic 14, black)</a:t>
            </a:r>
          </a:p>
          <a:p>
            <a:pPr lvl="0"/>
            <a:endParaRPr lang="en-US"/>
          </a:p>
          <a:p>
            <a:pPr lvl="0"/>
            <a:r>
              <a:rPr lang="en-US"/>
              <a:t>Topic 02 (Century Gothic 16, black </a:t>
            </a:r>
            <a:r>
              <a:rPr lang="mr-IN"/>
              <a:t>–</a:t>
            </a:r>
            <a:r>
              <a:rPr lang="en-US"/>
              <a:t> bold)</a:t>
            </a:r>
          </a:p>
          <a:p>
            <a:pPr lvl="1"/>
            <a:r>
              <a:rPr lang="en-US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ubtopic 02 (Century Gothic 14, black)</a:t>
            </a:r>
          </a:p>
          <a:p>
            <a:pPr lvl="1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522000" y="205200"/>
            <a:ext cx="6094800" cy="52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E7AFE1-070F-4670-843F-4FEA0E13E65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00FEEE5-F522-401C-81E6-0C8A536204E9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46550962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2923200"/>
            <a:ext cx="11160000" cy="503999"/>
          </a:xfrm>
        </p:spPr>
        <p:txBody>
          <a:bodyPr anchor="ctr">
            <a:noAutofit/>
          </a:bodyPr>
          <a:lstStyle>
            <a:lvl1pPr>
              <a:defRPr sz="28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(Century Gothic 28, whit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3445200"/>
            <a:ext cx="11160125" cy="5080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000" b="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/>
              <a:t>Subtitle (Century Gothic 20, light blue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465600" y="378000"/>
            <a:ext cx="5230800" cy="503999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Main Title (Century Gothic 14, whit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FB04C49-5241-412D-8C3B-11A4A248117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4353" y="6250804"/>
            <a:ext cx="1313468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F01D04F-6D18-4FDD-86A0-0FFD85E965BF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852512164"/>
      </p:ext>
    </p:extLst>
  </p:cSld>
  <p:clrMapOvr>
    <a:masterClrMapping/>
  </p:clrMapOvr>
  <p:hf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</p:spTree>
    <p:extLst>
      <p:ext uri="{BB962C8B-B14F-4D97-AF65-F5344CB8AC3E}">
        <p14:creationId xmlns:p14="http://schemas.microsoft.com/office/powerpoint/2010/main" val="312428355"/>
      </p:ext>
    </p:extLst>
  </p:cSld>
  <p:clrMapOvr>
    <a:masterClrMapping/>
  </p:clrMapOvr>
  <p:hf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1084908"/>
      </p:ext>
    </p:extLst>
  </p:cSld>
  <p:clrMapOvr>
    <a:masterClrMapping/>
  </p:clrMapOvr>
  <p:hf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1600" y="1436400"/>
            <a:ext cx="11402412" cy="4582800"/>
          </a:xfrm>
        </p:spPr>
        <p:txBody>
          <a:bodyPr/>
          <a:lstStyle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Main Text (Century Gothic 14, black)</a:t>
            </a:r>
          </a:p>
          <a:p>
            <a:pPr lvl="1"/>
            <a:r>
              <a:rPr lang="en-US"/>
              <a:t>Level 1 Bullet (Century Gothic 14, black </a:t>
            </a:r>
            <a:r>
              <a:rPr lang="mr-IN"/>
              <a:t>–</a:t>
            </a:r>
            <a:r>
              <a:rPr lang="en-US"/>
              <a:t> mid blue bullet)</a:t>
            </a:r>
          </a:p>
          <a:p>
            <a:pPr lvl="2"/>
            <a:r>
              <a:rPr lang="en-US"/>
              <a:t>Level 2 Bullet (Century Gothic 14, black </a:t>
            </a:r>
            <a:r>
              <a:rPr lang="mr-IN"/>
              <a:t>–</a:t>
            </a:r>
            <a:r>
              <a:rPr lang="en-US"/>
              <a:t> mid blue double arrow)</a:t>
            </a:r>
          </a:p>
          <a:p>
            <a:pPr lvl="3"/>
            <a:r>
              <a:rPr lang="en-US"/>
              <a:t>Level 3 Bullet (Century Gothic 12, black </a:t>
            </a:r>
            <a:r>
              <a:rPr lang="mr-IN"/>
              <a:t>–</a:t>
            </a:r>
            <a:r>
              <a:rPr lang="en-US"/>
              <a:t>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3508473175"/>
      </p:ext>
    </p:extLst>
  </p:cSld>
  <p:clrMapOvr>
    <a:masterClrMapping/>
  </p:clrMapOvr>
  <p:hf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6400"/>
            <a:ext cx="5355200" cy="45828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</a:t>
            </a:r>
            <a:r>
              <a:rPr lang="en-US" kern="0"/>
              <a:t> 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51600" y="1432800"/>
            <a:ext cx="5331600" cy="45828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</a:t>
            </a:r>
            <a:r>
              <a:rPr lang="en-US" kern="0"/>
              <a:t> 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1433722138"/>
      </p:ext>
    </p:extLst>
  </p:cSld>
  <p:clrMapOvr>
    <a:masterClrMapping/>
  </p:clrMapOvr>
  <p:hf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ion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en-US"/>
              <a:t>Title (Century Gothic 24, dark blue – bold)</a:t>
            </a:r>
            <a:endParaRPr lang="es-MX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29200"/>
            <a:ext cx="5355200" cy="478800"/>
          </a:xfrm>
        </p:spPr>
        <p:txBody>
          <a:bodyPr anchor="ctr"/>
          <a:lstStyle>
            <a:lvl1pP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5200" y="1929600"/>
            <a:ext cx="5355200" cy="40752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451600" y="1429200"/>
            <a:ext cx="5332412" cy="478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451600" y="1929600"/>
            <a:ext cx="5332412" cy="40752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356935481"/>
      </p:ext>
    </p:extLst>
  </p:cSld>
  <p:clrMapOvr>
    <a:masterClrMapping/>
  </p:clrMapOvr>
  <p:hf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2800"/>
            <a:ext cx="5355200" cy="45864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40400" y="1432800"/>
            <a:ext cx="5343612" cy="4716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440400" y="1965600"/>
            <a:ext cx="5343525" cy="4053600"/>
          </a:xfrm>
        </p:spPr>
        <p:txBody>
          <a:bodyPr/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402542523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404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2800"/>
            <a:ext cx="5355200" cy="45864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40400" y="1432800"/>
            <a:ext cx="5343612" cy="4716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440400" y="1965600"/>
            <a:ext cx="5343525" cy="4053600"/>
          </a:xfrm>
        </p:spPr>
        <p:txBody>
          <a:bodyPr/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1582354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40000"/>
            <a:ext cx="5331600" cy="4752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Title (Century Gothic 16, medium gray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385200" y="1965600"/>
            <a:ext cx="5331600" cy="40536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ontent (Graph, Table, Image, etc.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505200" y="1440000"/>
            <a:ext cx="5278812" cy="4593600"/>
          </a:xfrm>
        </p:spPr>
        <p:txBody>
          <a:bodyPr/>
          <a:lstStyle/>
          <a:p>
            <a:r>
              <a:rPr lang="en-US" kern="0"/>
              <a:t>Main Text (</a:t>
            </a:r>
            <a:r>
              <a:rPr lang="en-US"/>
              <a:t>Century Gothic </a:t>
            </a:r>
            <a:r>
              <a:rPr lang="en-US" kern="0"/>
              <a:t>14, black)</a:t>
            </a:r>
          </a:p>
          <a:p>
            <a:pPr lvl="1"/>
            <a:r>
              <a:rPr lang="en-US" kern="0"/>
              <a:t>Level 1 Bullet (</a:t>
            </a:r>
            <a:r>
              <a:rPr lang="en-US"/>
              <a:t>Century Gothic</a:t>
            </a:r>
            <a:r>
              <a:rPr lang="en-US" kern="0"/>
              <a:t> 14, black – mid blue bullet)</a:t>
            </a:r>
          </a:p>
          <a:p>
            <a:pPr lvl="2"/>
            <a:r>
              <a:rPr lang="en-US" kern="0"/>
              <a:t>Level 2 Bullet (</a:t>
            </a:r>
            <a:r>
              <a:rPr lang="en-US"/>
              <a:t>Century Gothic</a:t>
            </a:r>
            <a:r>
              <a:rPr lang="en-US" kern="0"/>
              <a:t> 14, black – mid blue double arrow)</a:t>
            </a:r>
          </a:p>
          <a:p>
            <a:pPr lvl="3"/>
            <a:r>
              <a:rPr lang="en-US" kern="0"/>
              <a:t>Level 3 Bullet (</a:t>
            </a:r>
            <a:r>
              <a:rPr lang="en-US"/>
              <a:t>Century Gothic</a:t>
            </a:r>
            <a:r>
              <a:rPr lang="en-US" kern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3567540485"/>
      </p:ext>
    </p:extLst>
  </p:cSld>
  <p:clrMapOvr>
    <a:masterClrMapping/>
  </p:clrMapOvr>
  <p:hf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385200" y="1429200"/>
            <a:ext cx="11398812" cy="4590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1310117514"/>
      </p:ext>
    </p:extLst>
  </p:cSld>
  <p:clrMapOvr>
    <a:masterClrMapping/>
  </p:clrMapOvr>
  <p:hf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DA8D64D-970D-4C5E-BB1E-1FB93A403046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25486240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up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2800" b="1">
                <a:solidFill>
                  <a:schemeClr val="bg1"/>
                </a:solidFill>
              </a:rPr>
              <a:t>Backup</a:t>
            </a:r>
            <a:r>
              <a:rPr lang="en-US" sz="2800" b="1" baseline="0">
                <a:solidFill>
                  <a:schemeClr val="bg1"/>
                </a:solidFill>
              </a:rPr>
              <a:t> Slides</a:t>
            </a:r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76DDEB-2A5A-45E8-8962-4A0636E7E6E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149481130"/>
      </p:ext>
    </p:extLst>
  </p:cSld>
  <p:clrMapOvr>
    <a:masterClrMapping/>
  </p:clrMapOvr>
  <p:hf hdr="0" ft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EMEX G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5E46FDC-E2AA-4F71-B6F8-4A094A5782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5E46FDC-E2AA-4F71-B6F8-4A094A5782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923CFB8A-EC96-4A36-9AAF-23B14588E6E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6FB370C-856A-4E28-8D19-00E2091D9A1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0F28C6D0-94B5-44C7-AD43-DB909E592767}"/>
              </a:ext>
            </a:extLst>
          </p:cNvPr>
          <p:cNvSpPr/>
          <p:nvPr/>
        </p:nvSpPr>
        <p:spPr>
          <a:xfrm>
            <a:off x="10424161" y="3027965"/>
            <a:ext cx="165224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Faculty of Health Sciences, Spain</a:t>
            </a:r>
            <a:endParaRPr lang="en-GB" sz="600" kern="120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95238BC-F057-4D48-A6C7-8B72C5178C67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1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EMEX Go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03DA3CD-8D6F-47A6-A618-5F46AD7BD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F3D8756-4D68-4B8A-868A-FA6887E932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AA646AD6-C39D-43C0-8C01-B30AB40547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6AE071B-C75F-43BF-9C75-313D25FBCC2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C834E24-4F03-47A6-95C5-947C4B352FD3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64868237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H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D4D9F66-A41D-478D-83C5-A2CD8E506A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D4D9F66-A41D-478D-83C5-A2CD8E506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DD812ED-7D2A-4145-86F4-60BFDB90F79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053EDC7-1E48-430E-A05A-B96D18286F3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DF4FF2A-A5B4-4806-B1C8-D43D87D587AD}"/>
              </a:ext>
            </a:extLst>
          </p:cNvPr>
          <p:cNvSpPr/>
          <p:nvPr/>
        </p:nvSpPr>
        <p:spPr>
          <a:xfrm>
            <a:off x="10872624" y="3027963"/>
            <a:ext cx="1354863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otel Steigenberger, Germany</a:t>
            </a:r>
            <a:endParaRPr lang="en-GB" sz="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364592E-A4B9-40D7-B25E-00E9E422A4E5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dark blue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OHR</a:t>
            </a:r>
            <a:endParaRPr lang="en-GB" sz="1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BEF0DCC-257A-409D-9F9B-6D55E7DFA8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030E5A9-863F-4FED-9B03-0A86E9032E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F565DA-0E9E-41C4-AB0A-B7390B2BC04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E714ACA-5423-464A-A9AE-0E796DA40A1D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60754034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alth &amp; Safet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C99E495-E38F-49FF-8B0C-97B969DB79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C99E495-E38F-49FF-8B0C-97B969DB7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FC6A13E0-AE9C-492B-B8FE-380B4840136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48AEDFF-1164-47B4-849D-90FDD087F88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A1D5D7B-8778-4AB2-9CCE-9CC654D16B0E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7F319ED-9C75-4D90-8D7E-31374790A6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4A81044-42C6-432C-9764-86A3FEBA8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EC9D6B0-CCAD-4230-8C54-781E769F8F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AE994B0-AAF9-48A1-B263-0D7C9B7427C3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  <a:effectLst/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Health &amp; Safety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440597-434B-4CB2-A580-DE76D78DBE5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CF58BCC-3007-4530-87A3-2E2D7B6DFF09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55193807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S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ABAC300-209B-498B-85E7-8FA52D524E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ABAC300-209B-498B-85E7-8FA52D524E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FB0ABC69-1E6C-4EF8-8F53-EFED311CE38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6AC7EF4-9458-4E7C-9ABB-BD0AAF0D9E0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70E5402-DC7C-407E-828F-A71B18D51C2C}"/>
              </a:ext>
            </a:extLst>
          </p:cNvPr>
          <p:cNvSpPr/>
          <p:nvPr/>
        </p:nvSpPr>
        <p:spPr>
          <a:xfrm>
            <a:off x="10604500" y="3027964"/>
            <a:ext cx="147190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ercules Towers, Spain</a:t>
            </a:r>
            <a:endParaRPr lang="en-GB" sz="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6CEA44E-8CFB-4459-AAD3-2441B1EB6E4B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EAF872C-27BB-4554-87BC-C35482CA38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F4487BD1-4042-4D65-872E-DB93BFD558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FE1F258C-A6CF-4BD3-A4DA-95B091E347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dark blue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CCEC798-25DB-4491-9BFF-9FA1B60BFE24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GSO</a:t>
            </a:r>
            <a:endParaRPr lang="en-GB" sz="1600" kern="120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C8321B1-D5EF-4403-A20B-A0F3E7FC572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9E64BB5-083E-4DA9-A0DE-C9EEFAC87F32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55035260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rp. Comm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DA77A3-A251-49D4-8BF7-62F1007488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DA77A3-A251-49D4-8BF7-62F1007488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1AC559EF-F665-4AC4-8A0D-227DCE43A39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45C9326-8709-4F29-926F-E8F28866B56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55F4A3B6-47B5-4DF4-A909-48DBF1137815}"/>
              </a:ext>
            </a:extLst>
          </p:cNvPr>
          <p:cNvSpPr/>
          <p:nvPr/>
        </p:nvSpPr>
        <p:spPr>
          <a:xfrm>
            <a:off x="10582772" y="3027963"/>
            <a:ext cx="1493638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Torre Reforma, Mexico</a:t>
            </a:r>
            <a:endParaRPr lang="en-GB" sz="600" kern="1200">
              <a:solidFill>
                <a:schemeClr val="bg1">
                  <a:lumMod val="6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EB2297-B282-4337-AC61-6A6B666FA98E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orp. Comms &amp; Public Affairs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661779"/>
      </p:ext>
    </p:extLst>
  </p:cSld>
  <p:clrMapOvr>
    <a:masterClrMapping/>
  </p:clrMapOvr>
  <p:hf hdr="0" ft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M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987074-8074-4657-A07E-1260F30C59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987074-8074-4657-A07E-1260F30C5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01358D86-F44C-4839-8810-39B67C0D930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6A47596-BBAD-4037-992D-E9EDBD6639F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775CADFD-3013-48C0-B34D-8421D5592374}"/>
              </a:ext>
            </a:extLst>
          </p:cNvPr>
          <p:cNvSpPr/>
          <p:nvPr/>
        </p:nvSpPr>
        <p:spPr>
          <a:xfrm>
            <a:off x="10249470" y="3027963"/>
            <a:ext cx="182694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Tahoma" charset="0"/>
                <a:cs typeface="Tahoma" charset="0"/>
              </a:rPr>
              <a:t>Therapeutic pools, Puerto Rico</a:t>
            </a:r>
            <a:endParaRPr lang="en-GB" sz="600" kern="1200">
              <a:solidFill>
                <a:schemeClr val="bg1">
                  <a:lumMod val="65000"/>
                </a:schemeClr>
              </a:solidFill>
              <a:latin typeface="+mn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3FBAEBA-5F67-423B-8427-6F84F36D07DB}"/>
              </a:ext>
            </a:extLst>
          </p:cNvPr>
          <p:cNvSpPr/>
          <p:nvPr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Main Title (Century Gothic 28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light gray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VMO</a:t>
            </a:r>
            <a:endParaRPr lang="en-GB" sz="1600" kern="120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79889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oleObject" Target="../embeddings/oleObject10.bin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tags" Target="../tags/tag10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21" Type="http://schemas.openxmlformats.org/officeDocument/2006/relationships/tags" Target="../tags/tag18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oleObject" Target="../embeddings/oleObject18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4.xml"/><Relationship Id="rId21" Type="http://schemas.openxmlformats.org/officeDocument/2006/relationships/tags" Target="../tags/tag26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oleObject" Target="../embeddings/oleObject26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oleObject" Target="../embeddings/oleObject34.bin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tags" Target="../tags/tag34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theme" Target="../theme/theme5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117CB7-C50B-4609-8E1F-AEF009D70B7E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23074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21" imgH="423" progId="TCLayout.ActiveDocument.1">
                  <p:embed/>
                </p:oleObj>
              </mc:Choice>
              <mc:Fallback>
                <p:oleObj name="think-cell Slide" r:id="rId2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5117CB7-C50B-4609-8E1F-AEF009D70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0" y="6606294"/>
            <a:ext cx="12192000" cy="254975"/>
          </a:xfrm>
          <a:prstGeom prst="rect">
            <a:avLst/>
          </a:prstGeom>
          <a:gradFill>
            <a:gsLst>
              <a:gs pos="0">
                <a:srgbClr val="202C44"/>
              </a:gs>
              <a:gs pos="100000">
                <a:srgbClr val="4E5C79"/>
              </a:gs>
            </a:gsLst>
            <a:lin ang="0" scaled="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8A95AC"/>
              </a:solidFill>
              <a:effectLst/>
              <a:uLnTx/>
              <a:uFillTx/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461" y="6654800"/>
            <a:ext cx="592087" cy="15507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5" y="188913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5" name="Parallelogram 14"/>
          <p:cNvSpPr/>
          <p:nvPr/>
        </p:nvSpPr>
        <p:spPr>
          <a:xfrm rot="10800000">
            <a:off x="11810009" y="6606286"/>
            <a:ext cx="381989" cy="254979"/>
          </a:xfrm>
          <a:prstGeom prst="parallelogram">
            <a:avLst>
              <a:gd name="adj" fmla="val 43629"/>
            </a:avLst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 rot="10800000">
            <a:off x="11979143" y="6606284"/>
            <a:ext cx="212850" cy="254980"/>
          </a:xfrm>
          <a:prstGeom prst="rect">
            <a:avLst/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1"/>
          </p:nvPr>
        </p:nvSpPr>
        <p:spPr>
          <a:xfrm>
            <a:off x="381599" y="1436400"/>
            <a:ext cx="11402413" cy="458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Main Text (Century Gothic 14, black)</a:t>
            </a:r>
          </a:p>
          <a:p>
            <a:pPr lvl="1"/>
            <a:r>
              <a:rPr lang="en-US"/>
              <a:t>Level 1 Bullet (Century Gothic 14, black </a:t>
            </a:r>
            <a:r>
              <a:rPr lang="mr-IN"/>
              <a:t>–</a:t>
            </a:r>
            <a:r>
              <a:rPr lang="en-US"/>
              <a:t> mid blue bullet)</a:t>
            </a:r>
          </a:p>
          <a:p>
            <a:pPr lvl="2"/>
            <a:r>
              <a:rPr lang="en-US"/>
              <a:t>Level 2 Bullet (Century Gothic 14, black </a:t>
            </a:r>
            <a:r>
              <a:rPr lang="mr-IN"/>
              <a:t>–</a:t>
            </a:r>
            <a:r>
              <a:rPr lang="en-US"/>
              <a:t> mid blue double arrow)</a:t>
            </a:r>
          </a:p>
          <a:p>
            <a:pPr lvl="3"/>
            <a:r>
              <a:rPr lang="en-US"/>
              <a:t>Level 3 Bullet (Century Gothic 12, black </a:t>
            </a:r>
            <a:r>
              <a:rPr lang="mr-IN"/>
              <a:t>–</a:t>
            </a:r>
            <a:r>
              <a:rPr lang="en-US"/>
              <a:t> mid blue circle bullet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715253" y="6618980"/>
            <a:ext cx="673100" cy="224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A412D38-D103-C04D-8AAB-EF7259E3EBC4}" type="slidenum">
              <a:rPr lang="en-US" sz="860" smtClean="0">
                <a:solidFill>
                  <a:schemeClr val="bg1"/>
                </a:solidFill>
              </a:rPr>
              <a:pPr algn="ctr"/>
              <a:t>‹#›</a:t>
            </a:fld>
            <a:endParaRPr lang="en-US" sz="86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DE7DE4-53E8-4486-BD98-F55720A727A4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9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535773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770" r:id="rId20"/>
    <p:sldLayoutId id="2147483771" r:id="rId21"/>
  </p:sldLayoutIdLst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ct val="0"/>
        </a:spcBef>
        <a:spcAft>
          <a:spcPts val="300"/>
        </a:spcAft>
        <a:buClrTx/>
        <a:buSzTx/>
        <a:buFontTx/>
        <a:buNone/>
        <a:tabLst/>
        <a:defRPr sz="2400" b="1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None/>
        <a:tabLst/>
        <a:defRPr sz="1400" b="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0005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Char char="•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622300" marR="0" indent="-2667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rgbClr val="345FB8"/>
        </a:buClr>
        <a:buSzPct val="100000"/>
        <a:buFont typeface="Tahoma" panose="020B0604030504040204" pitchFamily="34" charset="0"/>
        <a:buChar char="»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01700" marR="0" indent="-2794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rgbClr val="345FB8"/>
        </a:buClr>
        <a:buSzTx/>
        <a:buFont typeface="Courier New" panose="02070309020205020404" pitchFamily="49" charset="0"/>
        <a:buChar char="o"/>
        <a:tabLst>
          <a:tab pos="3313113" algn="l"/>
        </a:tabLst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234">
          <p15:clr>
            <a:srgbClr val="F26B43"/>
          </p15:clr>
        </p15:guide>
        <p15:guide id="3" orient="horz" pos="3793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117CB7-C50B-4609-8E1F-AEF009D70B7E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765442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21" imgH="423" progId="TCLayout.ActiveDocument.1">
                  <p:embed/>
                </p:oleObj>
              </mc:Choice>
              <mc:Fallback>
                <p:oleObj name="think-cell Slide" r:id="rId2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5117CB7-C50B-4609-8E1F-AEF009D70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0" y="6606294"/>
            <a:ext cx="12192000" cy="254975"/>
          </a:xfrm>
          <a:prstGeom prst="rect">
            <a:avLst/>
          </a:prstGeom>
          <a:gradFill>
            <a:gsLst>
              <a:gs pos="0">
                <a:srgbClr val="202C44"/>
              </a:gs>
              <a:gs pos="100000">
                <a:srgbClr val="4E5C79"/>
              </a:gs>
            </a:gsLst>
            <a:lin ang="0" scaled="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8A95AC"/>
              </a:solidFill>
              <a:effectLst/>
              <a:uLnTx/>
              <a:uFillTx/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461" y="6654800"/>
            <a:ext cx="592087" cy="15507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5" y="188913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5" name="Parallelogram 14"/>
          <p:cNvSpPr/>
          <p:nvPr/>
        </p:nvSpPr>
        <p:spPr>
          <a:xfrm rot="10800000">
            <a:off x="11810009" y="6606286"/>
            <a:ext cx="381989" cy="254979"/>
          </a:xfrm>
          <a:prstGeom prst="parallelogram">
            <a:avLst>
              <a:gd name="adj" fmla="val 43629"/>
            </a:avLst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 rot="10800000">
            <a:off x="11979143" y="6606284"/>
            <a:ext cx="212850" cy="254980"/>
          </a:xfrm>
          <a:prstGeom prst="rect">
            <a:avLst/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1"/>
          </p:nvPr>
        </p:nvSpPr>
        <p:spPr>
          <a:xfrm>
            <a:off x="381599" y="1436400"/>
            <a:ext cx="11402413" cy="458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Main Text (Century Gothic 14, black)</a:t>
            </a:r>
          </a:p>
          <a:p>
            <a:pPr lvl="1"/>
            <a:r>
              <a:rPr lang="en-US"/>
              <a:t>Level 1 Bullet (Century Gothic 14, black </a:t>
            </a:r>
            <a:r>
              <a:rPr lang="mr-IN"/>
              <a:t>–</a:t>
            </a:r>
            <a:r>
              <a:rPr lang="en-US"/>
              <a:t> mid blue bullet)</a:t>
            </a:r>
          </a:p>
          <a:p>
            <a:pPr lvl="2"/>
            <a:r>
              <a:rPr lang="en-US"/>
              <a:t>Level 2 Bullet (Century Gothic 14, black </a:t>
            </a:r>
            <a:r>
              <a:rPr lang="mr-IN"/>
              <a:t>–</a:t>
            </a:r>
            <a:r>
              <a:rPr lang="en-US"/>
              <a:t> mid blue double arrow)</a:t>
            </a:r>
          </a:p>
          <a:p>
            <a:pPr lvl="3"/>
            <a:r>
              <a:rPr lang="en-US"/>
              <a:t>Level 3 Bullet (Century Gothic 12, black </a:t>
            </a:r>
            <a:r>
              <a:rPr lang="mr-IN"/>
              <a:t>–</a:t>
            </a:r>
            <a:r>
              <a:rPr lang="en-US"/>
              <a:t> mid blue circle bullet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715253" y="6618980"/>
            <a:ext cx="673100" cy="224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A412D38-D103-C04D-8AAB-EF7259E3EBC4}" type="slidenum">
              <a:rPr lang="en-US" sz="860" smtClean="0">
                <a:solidFill>
                  <a:schemeClr val="bg1"/>
                </a:solidFill>
              </a:rPr>
              <a:pPr algn="ctr"/>
              <a:t>‹#›</a:t>
            </a:fld>
            <a:endParaRPr lang="en-US" sz="86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0F32ED0-B0B3-4F36-A5EE-6F37D6F26A5B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07255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80" r:id="rId21"/>
  </p:sldLayoutIdLst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ct val="0"/>
        </a:spcBef>
        <a:spcAft>
          <a:spcPts val="300"/>
        </a:spcAft>
        <a:buClrTx/>
        <a:buSzTx/>
        <a:buFontTx/>
        <a:buNone/>
        <a:tabLst/>
        <a:defRPr sz="2400" b="1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None/>
        <a:tabLst/>
        <a:defRPr sz="1400" b="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0005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Char char="•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622300" marR="0" indent="-2667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rgbClr val="345FB8"/>
        </a:buClr>
        <a:buSzPct val="100000"/>
        <a:buFont typeface="Tahoma" panose="020B0604030504040204" pitchFamily="34" charset="0"/>
        <a:buChar char="»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01700" marR="0" indent="-2794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rgbClr val="345FB8"/>
        </a:buClr>
        <a:buSzTx/>
        <a:buFont typeface="Courier New" panose="02070309020205020404" pitchFamily="49" charset="0"/>
        <a:buChar char="o"/>
        <a:tabLst>
          <a:tab pos="3313113" algn="l"/>
        </a:tabLst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234">
          <p15:clr>
            <a:srgbClr val="F26B43"/>
          </p15:clr>
        </p15:guide>
        <p15:guide id="3" orient="horz" pos="3793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117CB7-C50B-4609-8E1F-AEF009D70B7E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268195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21" imgH="423" progId="TCLayout.ActiveDocument.1">
                  <p:embed/>
                </p:oleObj>
              </mc:Choice>
              <mc:Fallback>
                <p:oleObj name="think-cell Slide" r:id="rId22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5117CB7-C50B-4609-8E1F-AEF009D70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0" y="6606294"/>
            <a:ext cx="12192000" cy="254975"/>
          </a:xfrm>
          <a:prstGeom prst="rect">
            <a:avLst/>
          </a:prstGeom>
          <a:gradFill>
            <a:gsLst>
              <a:gs pos="0">
                <a:srgbClr val="202C44"/>
              </a:gs>
              <a:gs pos="100000">
                <a:srgbClr val="4E5C79"/>
              </a:gs>
            </a:gsLst>
            <a:lin ang="0" scaled="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8A95AC"/>
              </a:solidFill>
              <a:effectLst/>
              <a:uLnTx/>
              <a:uFillTx/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461" y="6654800"/>
            <a:ext cx="592087" cy="15507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5" y="188913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5" name="Parallelogram 14"/>
          <p:cNvSpPr/>
          <p:nvPr/>
        </p:nvSpPr>
        <p:spPr>
          <a:xfrm rot="10800000">
            <a:off x="11810009" y="6606286"/>
            <a:ext cx="381989" cy="254979"/>
          </a:xfrm>
          <a:prstGeom prst="parallelogram">
            <a:avLst>
              <a:gd name="adj" fmla="val 43629"/>
            </a:avLst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 rot="10800000">
            <a:off x="11979143" y="6606284"/>
            <a:ext cx="212850" cy="254980"/>
          </a:xfrm>
          <a:prstGeom prst="rect">
            <a:avLst/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1"/>
          </p:nvPr>
        </p:nvSpPr>
        <p:spPr>
          <a:xfrm>
            <a:off x="381599" y="1436400"/>
            <a:ext cx="11402413" cy="458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Main Text (Century Gothic 14, black)</a:t>
            </a:r>
          </a:p>
          <a:p>
            <a:pPr lvl="1"/>
            <a:r>
              <a:rPr lang="en-US"/>
              <a:t>Level 1 Bullet (Century Gothic 14, black </a:t>
            </a:r>
            <a:r>
              <a:rPr lang="mr-IN"/>
              <a:t>–</a:t>
            </a:r>
            <a:r>
              <a:rPr lang="en-US"/>
              <a:t> mid blue bullet)</a:t>
            </a:r>
          </a:p>
          <a:p>
            <a:pPr lvl="2"/>
            <a:r>
              <a:rPr lang="en-US"/>
              <a:t>Level 2 Bullet (Century Gothic 14, black </a:t>
            </a:r>
            <a:r>
              <a:rPr lang="mr-IN"/>
              <a:t>–</a:t>
            </a:r>
            <a:r>
              <a:rPr lang="en-US"/>
              <a:t> mid blue double arrow)</a:t>
            </a:r>
          </a:p>
          <a:p>
            <a:pPr lvl="3"/>
            <a:r>
              <a:rPr lang="en-US"/>
              <a:t>Level 3 Bullet (Century Gothic 12, black </a:t>
            </a:r>
            <a:r>
              <a:rPr lang="mr-IN"/>
              <a:t>–</a:t>
            </a:r>
            <a:r>
              <a:rPr lang="en-US"/>
              <a:t> mid blue circle bullet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715253" y="6618980"/>
            <a:ext cx="673100" cy="224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A412D38-D103-C04D-8AAB-EF7259E3EBC4}" type="slidenum">
              <a:rPr lang="en-US" sz="860" smtClean="0">
                <a:solidFill>
                  <a:schemeClr val="bg1"/>
                </a:solidFill>
              </a:rPr>
              <a:pPr algn="ctr"/>
              <a:t>‹#›</a:t>
            </a:fld>
            <a:endParaRPr lang="en-US" sz="86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0F32ED0-B0B3-4F36-A5EE-6F37D6F26A5B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07820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</p:sldLayoutIdLst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ct val="0"/>
        </a:spcBef>
        <a:spcAft>
          <a:spcPts val="300"/>
        </a:spcAft>
        <a:buClrTx/>
        <a:buSzTx/>
        <a:buFontTx/>
        <a:buNone/>
        <a:tabLst/>
        <a:defRPr sz="2400" b="1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None/>
        <a:tabLst/>
        <a:defRPr sz="1400" b="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0005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Char char="•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622300" marR="0" indent="-2667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rgbClr val="345FB8"/>
        </a:buClr>
        <a:buSzPct val="100000"/>
        <a:buFont typeface="Tahoma" panose="020B0604030504040204" pitchFamily="34" charset="0"/>
        <a:buChar char="»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01700" marR="0" indent="-2794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rgbClr val="345FB8"/>
        </a:buClr>
        <a:buSzTx/>
        <a:buFont typeface="Courier New" panose="02070309020205020404" pitchFamily="49" charset="0"/>
        <a:buChar char="o"/>
        <a:tabLst>
          <a:tab pos="3313113" algn="l"/>
        </a:tabLst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234">
          <p15:clr>
            <a:srgbClr val="F26B43"/>
          </p15:clr>
        </p15:guide>
        <p15:guide id="3" orient="horz" pos="3793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117CB7-C50B-4609-8E1F-AEF009D70B7E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3772663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21" imgH="423" progId="TCLayout.ActiveDocument.1">
                  <p:embed/>
                </p:oleObj>
              </mc:Choice>
              <mc:Fallback>
                <p:oleObj name="think-cell Slide" r:id="rId22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5117CB7-C50B-4609-8E1F-AEF009D70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0" y="6606294"/>
            <a:ext cx="12192000" cy="254975"/>
          </a:xfrm>
          <a:prstGeom prst="rect">
            <a:avLst/>
          </a:prstGeom>
          <a:gradFill>
            <a:gsLst>
              <a:gs pos="0">
                <a:srgbClr val="202C44"/>
              </a:gs>
              <a:gs pos="100000">
                <a:srgbClr val="4E5C79"/>
              </a:gs>
            </a:gsLst>
            <a:lin ang="0" scaled="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8A95AC"/>
              </a:solidFill>
              <a:effectLst/>
              <a:uLnTx/>
              <a:uFillTx/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461" y="6654800"/>
            <a:ext cx="592087" cy="15507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5" y="188913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5" name="Parallelogram 14"/>
          <p:cNvSpPr/>
          <p:nvPr/>
        </p:nvSpPr>
        <p:spPr>
          <a:xfrm rot="10800000">
            <a:off x="11810009" y="6606286"/>
            <a:ext cx="381989" cy="254979"/>
          </a:xfrm>
          <a:prstGeom prst="parallelogram">
            <a:avLst>
              <a:gd name="adj" fmla="val 43629"/>
            </a:avLst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 rot="10800000">
            <a:off x="11979143" y="6606284"/>
            <a:ext cx="212850" cy="254980"/>
          </a:xfrm>
          <a:prstGeom prst="rect">
            <a:avLst/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1"/>
          </p:nvPr>
        </p:nvSpPr>
        <p:spPr>
          <a:xfrm>
            <a:off x="381599" y="1436400"/>
            <a:ext cx="11402413" cy="458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Main Text (Century Gothic 14, black)</a:t>
            </a:r>
          </a:p>
          <a:p>
            <a:pPr lvl="1"/>
            <a:r>
              <a:rPr lang="en-US"/>
              <a:t>Level 1 Bullet (Century Gothic 14, black </a:t>
            </a:r>
            <a:r>
              <a:rPr lang="mr-IN"/>
              <a:t>–</a:t>
            </a:r>
            <a:r>
              <a:rPr lang="en-US"/>
              <a:t> mid blue bullet)</a:t>
            </a:r>
          </a:p>
          <a:p>
            <a:pPr lvl="2"/>
            <a:r>
              <a:rPr lang="en-US"/>
              <a:t>Level 2 Bullet (Century Gothic 14, black </a:t>
            </a:r>
            <a:r>
              <a:rPr lang="mr-IN"/>
              <a:t>–</a:t>
            </a:r>
            <a:r>
              <a:rPr lang="en-US"/>
              <a:t> mid blue double arrow)</a:t>
            </a:r>
          </a:p>
          <a:p>
            <a:pPr lvl="3"/>
            <a:r>
              <a:rPr lang="en-US"/>
              <a:t>Level 3 Bullet (Century Gothic 12, black </a:t>
            </a:r>
            <a:r>
              <a:rPr lang="mr-IN"/>
              <a:t>–</a:t>
            </a:r>
            <a:r>
              <a:rPr lang="en-US"/>
              <a:t> mid blue circle bullet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715253" y="6618980"/>
            <a:ext cx="673100" cy="224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A412D38-D103-C04D-8AAB-EF7259E3EBC4}" type="slidenum">
              <a:rPr lang="en-US" sz="860" smtClean="0">
                <a:solidFill>
                  <a:schemeClr val="bg1"/>
                </a:solidFill>
              </a:rPr>
              <a:pPr algn="ctr"/>
              <a:t>‹#›</a:t>
            </a:fld>
            <a:endParaRPr lang="en-US" sz="86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0F32ED0-B0B3-4F36-A5EE-6F37D6F26A5B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 2020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65228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</p:sldLayoutIdLst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ct val="0"/>
        </a:spcBef>
        <a:spcAft>
          <a:spcPts val="300"/>
        </a:spcAft>
        <a:buClrTx/>
        <a:buSzTx/>
        <a:buFontTx/>
        <a:buNone/>
        <a:tabLst/>
        <a:defRPr sz="2400" b="1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None/>
        <a:tabLst/>
        <a:defRPr sz="1400" b="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0005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Char char="•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622300" marR="0" indent="-2667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rgbClr val="345FB8"/>
        </a:buClr>
        <a:buSzPct val="100000"/>
        <a:buFont typeface="Tahoma" panose="020B0604030504040204" pitchFamily="34" charset="0"/>
        <a:buChar char="»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01700" marR="0" indent="-2794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rgbClr val="345FB8"/>
        </a:buClr>
        <a:buSzTx/>
        <a:buFont typeface="Courier New" panose="02070309020205020404" pitchFamily="49" charset="0"/>
        <a:buChar char="o"/>
        <a:tabLst>
          <a:tab pos="3313113" algn="l"/>
        </a:tabLst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234">
          <p15:clr>
            <a:srgbClr val="F26B43"/>
          </p15:clr>
        </p15:guide>
        <p15:guide id="3" orient="horz" pos="3793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B11034F-2C83-4B83-8E71-9E89399EF96E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21" imgH="423" progId="TCLayout.ActiveDocument.1">
                  <p:embed/>
                </p:oleObj>
              </mc:Choice>
              <mc:Fallback>
                <p:oleObj name="think-cell Slide" r:id="rId25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B11034F-2C83-4B83-8E71-9E89399EF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0" y="6606294"/>
            <a:ext cx="12192000" cy="254975"/>
          </a:xfrm>
          <a:prstGeom prst="rect">
            <a:avLst/>
          </a:prstGeom>
          <a:gradFill>
            <a:gsLst>
              <a:gs pos="0">
                <a:srgbClr val="202C44"/>
              </a:gs>
              <a:gs pos="100000">
                <a:srgbClr val="4E5C79"/>
              </a:gs>
            </a:gsLst>
            <a:lin ang="0" scaled="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8A95AC"/>
              </a:solidFill>
              <a:effectLst/>
              <a:uLnTx/>
              <a:uFillTx/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461" y="6654800"/>
            <a:ext cx="592087" cy="15507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5" y="188913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Title (Century Gothic 24, dark blue </a:t>
            </a:r>
            <a:r>
              <a:rPr lang="mr-IN"/>
              <a:t>–</a:t>
            </a:r>
            <a:r>
              <a:rPr lang="en-US"/>
              <a:t> bold)</a:t>
            </a:r>
          </a:p>
        </p:txBody>
      </p:sp>
      <p:sp>
        <p:nvSpPr>
          <p:cNvPr id="15" name="Parallelogram 14"/>
          <p:cNvSpPr/>
          <p:nvPr/>
        </p:nvSpPr>
        <p:spPr>
          <a:xfrm rot="10800000">
            <a:off x="11810009" y="6606286"/>
            <a:ext cx="381989" cy="254979"/>
          </a:xfrm>
          <a:prstGeom prst="parallelogram">
            <a:avLst>
              <a:gd name="adj" fmla="val 43629"/>
            </a:avLst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 rot="10800000">
            <a:off x="11979143" y="6606284"/>
            <a:ext cx="212850" cy="254980"/>
          </a:xfrm>
          <a:prstGeom prst="rect">
            <a:avLst/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1"/>
          </p:nvPr>
        </p:nvSpPr>
        <p:spPr>
          <a:xfrm>
            <a:off x="381599" y="1436400"/>
            <a:ext cx="11402413" cy="458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Main Text (Century Gothic 14, black)</a:t>
            </a:r>
          </a:p>
          <a:p>
            <a:pPr lvl="1"/>
            <a:r>
              <a:rPr lang="en-US"/>
              <a:t>Level 1 Bullet (Century Gothic 14, black </a:t>
            </a:r>
            <a:r>
              <a:rPr lang="mr-IN"/>
              <a:t>–</a:t>
            </a:r>
            <a:r>
              <a:rPr lang="en-US"/>
              <a:t> mid blue bullet)</a:t>
            </a:r>
          </a:p>
          <a:p>
            <a:pPr lvl="2"/>
            <a:r>
              <a:rPr lang="en-US"/>
              <a:t>Level 2 Bullet (Century Gothic 14, black </a:t>
            </a:r>
            <a:r>
              <a:rPr lang="mr-IN"/>
              <a:t>–</a:t>
            </a:r>
            <a:r>
              <a:rPr lang="en-US"/>
              <a:t> mid blue double arrow)</a:t>
            </a:r>
          </a:p>
          <a:p>
            <a:pPr lvl="3"/>
            <a:r>
              <a:rPr lang="en-US"/>
              <a:t>Level 3 Bullet (Century Gothic 12, black </a:t>
            </a:r>
            <a:r>
              <a:rPr lang="mr-IN"/>
              <a:t>–</a:t>
            </a:r>
            <a:r>
              <a:rPr lang="en-US"/>
              <a:t> mid blue circle bullet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715253" y="6618980"/>
            <a:ext cx="673100" cy="224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A412D38-D103-C04D-8AAB-EF7259E3EBC4}" type="slidenum">
              <a:rPr lang="en-US" sz="860" smtClean="0">
                <a:solidFill>
                  <a:schemeClr val="bg1"/>
                </a:solidFill>
              </a:rPr>
              <a:pPr algn="ctr"/>
              <a:t>‹#›</a:t>
            </a:fld>
            <a:endParaRPr lang="en-US" sz="86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DE7DE4-53E8-4486-BD98-F55720A727A4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713190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  <p:sldLayoutId id="2147483761" r:id="rId15"/>
    <p:sldLayoutId id="2147483762" r:id="rId16"/>
    <p:sldLayoutId id="2147483763" r:id="rId17"/>
    <p:sldLayoutId id="2147483764" r:id="rId18"/>
    <p:sldLayoutId id="2147483765" r:id="rId19"/>
    <p:sldLayoutId id="2147483766" r:id="rId20"/>
    <p:sldLayoutId id="2147483767" r:id="rId21"/>
    <p:sldLayoutId id="2147483768" r:id="rId22"/>
  </p:sldLayoutIdLst>
  <p:hf hdr="0" ftr="0" dt="0"/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ct val="0"/>
        </a:spcBef>
        <a:spcAft>
          <a:spcPts val="300"/>
        </a:spcAft>
        <a:buClrTx/>
        <a:buSzTx/>
        <a:buFontTx/>
        <a:buNone/>
        <a:tabLst/>
        <a:defRPr sz="2400" b="1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None/>
        <a:tabLst/>
        <a:defRPr sz="1400" b="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0005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Char char="•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622300" marR="0" indent="-2667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rgbClr val="345FB8"/>
        </a:buClr>
        <a:buSzPct val="100000"/>
        <a:buFont typeface="Tahoma" panose="020B0604030504040204" pitchFamily="34" charset="0"/>
        <a:buChar char="»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01700" marR="0" indent="-2794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rgbClr val="345FB8"/>
        </a:buClr>
        <a:buSzTx/>
        <a:buFont typeface="Courier New" panose="02070309020205020404" pitchFamily="49" charset="0"/>
        <a:buChar char="o"/>
        <a:tabLst>
          <a:tab pos="3313113" algn="l"/>
        </a:tabLst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234">
          <p15:clr>
            <a:srgbClr val="F26B43"/>
          </p15:clr>
        </p15:guide>
        <p15:guide id="3" orient="horz" pos="3793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0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666CF82-D5F6-417D-8282-EF5C3AEDAB83}"/>
              </a:ext>
            </a:extLst>
          </p:cNvPr>
          <p:cNvSpPr txBox="1"/>
          <p:nvPr/>
        </p:nvSpPr>
        <p:spPr bwMode="auto">
          <a:xfrm>
            <a:off x="397566" y="3670853"/>
            <a:ext cx="7288014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800" b="1" kern="0" dirty="0">
                <a:solidFill>
                  <a:schemeClr val="tx2"/>
                </a:solidFill>
              </a:rPr>
              <a:t>Power BI Dashboard Report Integration</a:t>
            </a:r>
          </a:p>
        </p:txBody>
      </p:sp>
    </p:spTree>
    <p:extLst>
      <p:ext uri="{BB962C8B-B14F-4D97-AF65-F5344CB8AC3E}">
        <p14:creationId xmlns:p14="http://schemas.microsoft.com/office/powerpoint/2010/main" val="1892822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Autofit/>
          </a:bodyPr>
          <a:lstStyle/>
          <a:p>
            <a:pPr algn="l"/>
            <a:br>
              <a:rPr lang="en-US" sz="2133" dirty="0">
                <a:latin typeface="Century Gothic" charset="0"/>
                <a:ea typeface="Century Gothic" charset="0"/>
                <a:cs typeface="Century Gothic" charset="0"/>
              </a:rPr>
            </a:br>
            <a:br>
              <a:rPr lang="en-US" sz="2133" dirty="0">
                <a:latin typeface="Century Gothic" charset="0"/>
                <a:ea typeface="Century Gothic" charset="0"/>
                <a:cs typeface="Century Gothic" charset="0"/>
              </a:rPr>
            </a:br>
            <a:br>
              <a:rPr lang="en-US" sz="2133" dirty="0">
                <a:latin typeface="Century Gothic" charset="0"/>
                <a:ea typeface="Century Gothic" charset="0"/>
                <a:cs typeface="Century Gothic" charset="0"/>
              </a:rPr>
            </a:br>
            <a:br>
              <a:rPr lang="en-US" sz="2133" dirty="0">
                <a:latin typeface="Century Gothic" charset="0"/>
                <a:ea typeface="Century Gothic" charset="0"/>
                <a:cs typeface="Century Gothic" charset="0"/>
              </a:rPr>
            </a:br>
            <a:br>
              <a:rPr lang="en-US" sz="2133" dirty="0">
                <a:latin typeface="Century Gothic" charset="0"/>
                <a:ea typeface="Century Gothic" charset="0"/>
                <a:cs typeface="Century Gothic" charset="0"/>
              </a:rPr>
            </a:br>
            <a:br>
              <a:rPr lang="en-US" sz="2133" dirty="0">
                <a:latin typeface="Century Gothic" charset="0"/>
                <a:ea typeface="Century Gothic" charset="0"/>
                <a:cs typeface="Century Gothic" charset="0"/>
              </a:rPr>
            </a:br>
            <a:br>
              <a:rPr lang="en-US" sz="2133" dirty="0">
                <a:latin typeface="Century Gothic" charset="0"/>
                <a:ea typeface="Century Gothic" charset="0"/>
                <a:cs typeface="Century Gothic" charset="0"/>
              </a:rPr>
            </a:br>
            <a:endParaRPr lang="en-US" sz="2133" dirty="0">
              <a:solidFill>
                <a:srgbClr val="003DA6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B36BADA-3139-448B-B0B2-90D8252E7531}"/>
              </a:ext>
            </a:extLst>
          </p:cNvPr>
          <p:cNvSpPr/>
          <p:nvPr/>
        </p:nvSpPr>
        <p:spPr>
          <a:xfrm>
            <a:off x="596713" y="198312"/>
            <a:ext cx="10447283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n-US" sz="2667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entury Gothic" charset="0"/>
                <a:ea typeface="+mn-ea"/>
                <a:cs typeface="+mn-cs"/>
              </a:rPr>
              <a:t>Main Indicators</a:t>
            </a:r>
            <a:endParaRPr kumimoji="0" lang="es-MX" sz="12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2261C4-30A2-4C85-8E56-DFC4AD1671B5}"/>
              </a:ext>
            </a:extLst>
          </p:cNvPr>
          <p:cNvSpPr txBox="1"/>
          <p:nvPr/>
        </p:nvSpPr>
        <p:spPr>
          <a:xfrm>
            <a:off x="821634" y="836607"/>
            <a:ext cx="10774017" cy="5232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chemeClr val="bg2">
                    <a:lumMod val="75000"/>
                  </a:schemeClr>
                </a:solidFill>
                <a:latin typeface="Century Gothic" charset="0"/>
              </a:rPr>
              <a:t>Power BI Dashboard  for followings report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  <a:latin typeface="Century Gothic" charset="0"/>
              <a:ea typeface="+mn-ea"/>
              <a:cs typeface="+mn-cs"/>
            </a:endParaRPr>
          </a:p>
          <a:p>
            <a:pPr>
              <a:defRPr/>
            </a:pPr>
            <a:endParaRPr lang="en-US" dirty="0">
              <a:solidFill>
                <a:srgbClr val="000000"/>
              </a:solidFill>
              <a:latin typeface="Century Gothic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/>
              <a:t>OTD-OTL Report</a:t>
            </a:r>
          </a:p>
          <a:p>
            <a:endParaRPr lang="en-US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/>
              <a:t>Planned Vs Executed Volume Report</a:t>
            </a:r>
          </a:p>
          <a:p>
            <a:endParaRPr lang="en-US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/>
              <a:t>Waiting Time Report</a:t>
            </a:r>
          </a:p>
          <a:p>
            <a:endParaRPr lang="en-US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/>
              <a:t>CXGO Report for Both Segment-Dubai and Abudhabi</a:t>
            </a:r>
          </a:p>
          <a:p>
            <a:endParaRPr lang="en-US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/>
              <a:t>Call Center Repor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/>
              <a:t>Schedule Availability </a:t>
            </a:r>
          </a:p>
          <a:p>
            <a:endParaRPr lang="en-US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/>
              <a:t>EPOD Report</a:t>
            </a:r>
          </a:p>
          <a:p>
            <a:endParaRPr lang="en-US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/>
              <a:t>Fleet mgt. and GPS OFF Report</a:t>
            </a:r>
          </a:p>
          <a:p>
            <a:endParaRPr lang="en-US" sz="1400" b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18CFAD5-BE80-44B3-A37E-329A3FAC53A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903" t="28256" r="32154" b="21569"/>
          <a:stretch/>
        </p:blipFill>
        <p:spPr>
          <a:xfrm>
            <a:off x="9556604" y="120312"/>
            <a:ext cx="726636" cy="760395"/>
          </a:xfrm>
          <a:prstGeom prst="rect">
            <a:avLst/>
          </a:prstGeom>
        </p:spPr>
      </p:pic>
      <p:pic>
        <p:nvPicPr>
          <p:cNvPr id="7" name="Picture 6" descr="CEMEX_SCE_2-en.jpg">
            <a:extLst>
              <a:ext uri="{FF2B5EF4-FFF2-40B4-BE49-F238E27FC236}">
                <a16:creationId xmlns:a16="http://schemas.microsoft.com/office/drawing/2014/main" id="{D1DB93B7-C47A-4CEA-82A3-B0EB3B78750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79" t="15506" r="7371" b="16150"/>
          <a:stretch/>
        </p:blipFill>
        <p:spPr>
          <a:xfrm>
            <a:off x="10300678" y="137993"/>
            <a:ext cx="1891321" cy="689215"/>
          </a:xfrm>
          <a:prstGeom prst="rect">
            <a:avLst/>
          </a:prstGeom>
        </p:spPr>
      </p:pic>
      <p:sp>
        <p:nvSpPr>
          <p:cNvPr id="9" name="Arrow: Up-Down 8">
            <a:extLst>
              <a:ext uri="{FF2B5EF4-FFF2-40B4-BE49-F238E27FC236}">
                <a16:creationId xmlns:a16="http://schemas.microsoft.com/office/drawing/2014/main" id="{4AC2AC86-C81D-4929-821E-2328588CFC89}"/>
              </a:ext>
            </a:extLst>
          </p:cNvPr>
          <p:cNvSpPr/>
          <p:nvPr/>
        </p:nvSpPr>
        <p:spPr>
          <a:xfrm>
            <a:off x="7142922" y="1242000"/>
            <a:ext cx="5049077" cy="4962338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followings  Conceptual design is only for the presentation of idea. We would modify the visual of data according to organizational requirements.</a:t>
            </a:r>
          </a:p>
        </p:txBody>
      </p:sp>
    </p:spTree>
    <p:extLst>
      <p:ext uri="{BB962C8B-B14F-4D97-AF65-F5344CB8AC3E}">
        <p14:creationId xmlns:p14="http://schemas.microsoft.com/office/powerpoint/2010/main" val="41233584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33B828-53E1-4527-B7CE-36DEA6737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720" y="188913"/>
            <a:ext cx="11103292" cy="532447"/>
          </a:xfrm>
        </p:spPr>
        <p:txBody>
          <a:bodyPr/>
          <a:lstStyle/>
          <a:p>
            <a:r>
              <a:rPr lang="en-US" dirty="0"/>
              <a:t>Waiting Time of Truck –Mixer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245A7DC-3F1F-E9A1-F71D-DBC14C2AD2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720" y="944880"/>
            <a:ext cx="9337040" cy="5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3171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33B828-53E1-4527-B7CE-36DEA6737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Customer Experience Dashboar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3EACF4-18FC-86D8-7134-5CE4B22DF4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960" y="812800"/>
            <a:ext cx="8178800" cy="526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1270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33B828-53E1-4527-B7CE-36DEA6737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On Time Loading KPI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F3E17A-8C97-F1EB-BB7C-83882F0872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549" y="990490"/>
            <a:ext cx="7626742" cy="4267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3053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33B828-53E1-4527-B7CE-36DEA6737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Truck Mixer Performan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D611709-D26A-D489-F213-E9BAFE6280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125" y="956835"/>
            <a:ext cx="7569589" cy="4273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4018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33B828-53E1-4527-B7CE-36DEA6737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Sales Exe Performance Performa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D11CC32-BBE4-7C7A-D717-2E087BB35F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0198" y="834915"/>
            <a:ext cx="7639443" cy="4273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34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33B828-53E1-4527-B7CE-36DEA6737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graph only table present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0FF4043-1D9C-4D11-A3FD-E5ABF5F673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81900" y="2776950"/>
            <a:ext cx="4610100" cy="14954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4277834-0F8A-4896-9048-A58074F3BB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81900" y="4543011"/>
            <a:ext cx="4610100" cy="15525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AB05BFB-12BC-4371-84A4-63C3D4A7C3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2693" y="5112646"/>
            <a:ext cx="3086100" cy="8477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65A80F9-B065-4D1D-B16E-B3C8666698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617" y="3667538"/>
            <a:ext cx="4086225" cy="12096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3198294-DE2D-4939-BCE8-D63DC52FF1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0868" y="5319299"/>
            <a:ext cx="3133725" cy="9048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6AD34DC-B87F-4F16-810B-5275C0992D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94512" y="247650"/>
            <a:ext cx="2428875" cy="1905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A0650ED-F388-4102-992F-B884EE48C03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3996" y="895050"/>
            <a:ext cx="3990975" cy="222885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5EBEBC8-9AD3-4AE2-B0ED-F2A32519E2A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08175" y="267939"/>
            <a:ext cx="4591050" cy="223837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4AC580D-F903-4663-BEEC-A2C389F70D5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71949" y="2506314"/>
            <a:ext cx="3409952" cy="24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85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CEMEX">
  <a:themeElements>
    <a:clrScheme name="CEMEX">
      <a:dk1>
        <a:srgbClr val="000000"/>
      </a:dk1>
      <a:lt1>
        <a:srgbClr val="FFFFFF"/>
      </a:lt1>
      <a:dk2>
        <a:srgbClr val="1E386E"/>
      </a:dk2>
      <a:lt2>
        <a:srgbClr val="345FB8"/>
      </a:lt2>
      <a:accent1>
        <a:srgbClr val="41276C"/>
      </a:accent1>
      <a:accent2>
        <a:srgbClr val="BE223C"/>
      </a:accent2>
      <a:accent3>
        <a:srgbClr val="16A085"/>
      </a:accent3>
      <a:accent4>
        <a:srgbClr val="A8D177"/>
      </a:accent4>
      <a:accent5>
        <a:srgbClr val="FEA045"/>
      </a:accent5>
      <a:accent6>
        <a:srgbClr val="FFD34C"/>
      </a:accent6>
      <a:hlink>
        <a:srgbClr val="003875"/>
      </a:hlink>
      <a:folHlink>
        <a:srgbClr val="3FA9F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emexTemplate2017" id="{97B7A792-AE99-4FF1-91DC-23FBFF449357}" vid="{45A57343-AC59-4344-A507-DF0B2484AA1C}"/>
    </a:ext>
  </a:extLst>
</a:theme>
</file>

<file path=ppt/theme/theme2.xml><?xml version="1.0" encoding="utf-8"?>
<a:theme xmlns:a="http://schemas.openxmlformats.org/drawingml/2006/main" name="1_CEMEX">
  <a:themeElements>
    <a:clrScheme name="CEMEX">
      <a:dk1>
        <a:srgbClr val="000000"/>
      </a:dk1>
      <a:lt1>
        <a:srgbClr val="FFFFFF"/>
      </a:lt1>
      <a:dk2>
        <a:srgbClr val="1E386E"/>
      </a:dk2>
      <a:lt2>
        <a:srgbClr val="345FB8"/>
      </a:lt2>
      <a:accent1>
        <a:srgbClr val="41276C"/>
      </a:accent1>
      <a:accent2>
        <a:srgbClr val="BE223C"/>
      </a:accent2>
      <a:accent3>
        <a:srgbClr val="16A085"/>
      </a:accent3>
      <a:accent4>
        <a:srgbClr val="A8D177"/>
      </a:accent4>
      <a:accent5>
        <a:srgbClr val="FEA045"/>
      </a:accent5>
      <a:accent6>
        <a:srgbClr val="FFD34C"/>
      </a:accent6>
      <a:hlink>
        <a:srgbClr val="003875"/>
      </a:hlink>
      <a:folHlink>
        <a:srgbClr val="3FA9F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99FA4BEC-C3A2-4018-A6EF-5FF0AF995E78}" vid="{4245792F-1BFE-4B97-AA4C-27FC3C4394E7}"/>
    </a:ext>
  </a:extLst>
</a:theme>
</file>

<file path=ppt/theme/theme3.xml><?xml version="1.0" encoding="utf-8"?>
<a:theme xmlns:a="http://schemas.openxmlformats.org/drawingml/2006/main" name="CEMEX">
  <a:themeElements>
    <a:clrScheme name="CEMEX">
      <a:dk1>
        <a:srgbClr val="000000"/>
      </a:dk1>
      <a:lt1>
        <a:srgbClr val="FFFFFF"/>
      </a:lt1>
      <a:dk2>
        <a:srgbClr val="1E386E"/>
      </a:dk2>
      <a:lt2>
        <a:srgbClr val="345FB8"/>
      </a:lt2>
      <a:accent1>
        <a:srgbClr val="41276C"/>
      </a:accent1>
      <a:accent2>
        <a:srgbClr val="BE223C"/>
      </a:accent2>
      <a:accent3>
        <a:srgbClr val="16A085"/>
      </a:accent3>
      <a:accent4>
        <a:srgbClr val="A8D177"/>
      </a:accent4>
      <a:accent5>
        <a:srgbClr val="FEA045"/>
      </a:accent5>
      <a:accent6>
        <a:srgbClr val="FFD34C"/>
      </a:accent6>
      <a:hlink>
        <a:srgbClr val="003875"/>
      </a:hlink>
      <a:folHlink>
        <a:srgbClr val="3FA9F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99FA4BEC-C3A2-4018-A6EF-5FF0AF995E78}" vid="{4245792F-1BFE-4B97-AA4C-27FC3C4394E7}"/>
    </a:ext>
  </a:extLst>
</a:theme>
</file>

<file path=ppt/theme/theme4.xml><?xml version="1.0" encoding="utf-8"?>
<a:theme xmlns:a="http://schemas.openxmlformats.org/drawingml/2006/main" name="2_CEMEX">
  <a:themeElements>
    <a:clrScheme name="CEMEX">
      <a:dk1>
        <a:srgbClr val="000000"/>
      </a:dk1>
      <a:lt1>
        <a:srgbClr val="FFFFFF"/>
      </a:lt1>
      <a:dk2>
        <a:srgbClr val="1E386E"/>
      </a:dk2>
      <a:lt2>
        <a:srgbClr val="345FB8"/>
      </a:lt2>
      <a:accent1>
        <a:srgbClr val="41276C"/>
      </a:accent1>
      <a:accent2>
        <a:srgbClr val="BE223C"/>
      </a:accent2>
      <a:accent3>
        <a:srgbClr val="16A085"/>
      </a:accent3>
      <a:accent4>
        <a:srgbClr val="A8D177"/>
      </a:accent4>
      <a:accent5>
        <a:srgbClr val="FEA045"/>
      </a:accent5>
      <a:accent6>
        <a:srgbClr val="FFD34C"/>
      </a:accent6>
      <a:hlink>
        <a:srgbClr val="003875"/>
      </a:hlink>
      <a:folHlink>
        <a:srgbClr val="3FA9F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99FA4BEC-C3A2-4018-A6EF-5FF0AF995E78}" vid="{4245792F-1BFE-4B97-AA4C-27FC3C4394E7}"/>
    </a:ext>
  </a:extLst>
</a:theme>
</file>

<file path=ppt/theme/theme5.xml><?xml version="1.0" encoding="utf-8"?>
<a:theme xmlns:a="http://schemas.openxmlformats.org/drawingml/2006/main" name="2_Custom Design">
  <a:themeElements>
    <a:clrScheme name="CEMEX">
      <a:dk1>
        <a:srgbClr val="000000"/>
      </a:dk1>
      <a:lt1>
        <a:srgbClr val="FFFFFF"/>
      </a:lt1>
      <a:dk2>
        <a:srgbClr val="1E386E"/>
      </a:dk2>
      <a:lt2>
        <a:srgbClr val="345FB8"/>
      </a:lt2>
      <a:accent1>
        <a:srgbClr val="41276C"/>
      </a:accent1>
      <a:accent2>
        <a:srgbClr val="BE223C"/>
      </a:accent2>
      <a:accent3>
        <a:srgbClr val="16A085"/>
      </a:accent3>
      <a:accent4>
        <a:srgbClr val="A8D177"/>
      </a:accent4>
      <a:accent5>
        <a:srgbClr val="FEA045"/>
      </a:accent5>
      <a:accent6>
        <a:srgbClr val="FFD34C"/>
      </a:accent6>
      <a:hlink>
        <a:srgbClr val="003875"/>
      </a:hlink>
      <a:folHlink>
        <a:srgbClr val="3FA9F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69" id="{67A93493-4F2B-4F9A-8A7F-D8328F7DED69}" vid="{D7AC2A76-1811-4224-A75C-C7C884B9BB01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630</TotalTime>
  <Words>105</Words>
  <Application>Microsoft Office PowerPoint</Application>
  <PresentationFormat>Widescreen</PresentationFormat>
  <Paragraphs>29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3" baseType="lpstr">
      <vt:lpstr>Arial</vt:lpstr>
      <vt:lpstr>Calibri</vt:lpstr>
      <vt:lpstr>Century Gothic</vt:lpstr>
      <vt:lpstr>Courier New</vt:lpstr>
      <vt:lpstr>Graphik</vt:lpstr>
      <vt:lpstr>Graphik Semibold</vt:lpstr>
      <vt:lpstr>Tahoma</vt:lpstr>
      <vt:lpstr>Verdana</vt:lpstr>
      <vt:lpstr>Wingdings</vt:lpstr>
      <vt:lpstr>6_CEMEX</vt:lpstr>
      <vt:lpstr>1_CEMEX</vt:lpstr>
      <vt:lpstr>CEMEX</vt:lpstr>
      <vt:lpstr>2_CEMEX</vt:lpstr>
      <vt:lpstr>2_Custom Design</vt:lpstr>
      <vt:lpstr>think-cell Slide</vt:lpstr>
      <vt:lpstr>PowerPoint Presentation</vt:lpstr>
      <vt:lpstr>       </vt:lpstr>
      <vt:lpstr>Waiting Time of Truck –Mixer </vt:lpstr>
      <vt:lpstr>     Customer Experience Dashboard</vt:lpstr>
      <vt:lpstr>  On Time Loading KPI</vt:lpstr>
      <vt:lpstr> Truck Mixer Performance</vt:lpstr>
      <vt:lpstr> Sales Exe Performance Performance</vt:lpstr>
      <vt:lpstr>No graph only table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CCM Update - UAE</dc:title>
  <dc:creator>Omnia Mostafa Farrag Ahmed</dc:creator>
  <cp:lastModifiedBy>samar khan</cp:lastModifiedBy>
  <cp:revision>440</cp:revision>
  <dcterms:created xsi:type="dcterms:W3CDTF">2020-10-20T05:38:17Z</dcterms:created>
  <dcterms:modified xsi:type="dcterms:W3CDTF">2022-12-18T11:47:09Z</dcterms:modified>
</cp:coreProperties>
</file>